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4130" r:id="rId23"/>
  </p:sldMasterIdLst>
  <p:notesMasterIdLst>
    <p:notesMasterId r:id="rId41"/>
  </p:notesMasterIdLst>
  <p:handoutMasterIdLst>
    <p:handoutMasterId r:id="rId42"/>
  </p:handoutMasterIdLst>
  <p:sldIdLst>
    <p:sldId id="4902" r:id="rId24"/>
    <p:sldId id="6170" r:id="rId25"/>
    <p:sldId id="3227" r:id="rId26"/>
    <p:sldId id="3240" r:id="rId27"/>
    <p:sldId id="4645" r:id="rId28"/>
    <p:sldId id="6165" r:id="rId29"/>
    <p:sldId id="6167" r:id="rId30"/>
    <p:sldId id="4648" r:id="rId31"/>
    <p:sldId id="4649" r:id="rId32"/>
    <p:sldId id="4650" r:id="rId33"/>
    <p:sldId id="4651" r:id="rId34"/>
    <p:sldId id="4652" r:id="rId35"/>
    <p:sldId id="3238" r:id="rId36"/>
    <p:sldId id="4653" r:id="rId37"/>
    <p:sldId id="6169" r:id="rId38"/>
    <p:sldId id="4647" r:id="rId39"/>
    <p:sldId id="4642" r:id="rId40"/>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4D7E7274-C9D6-994D-926E-2EFF6E469F4A}">
          <p14:sldIdLst>
            <p14:sldId id="4902"/>
          </p14:sldIdLst>
        </p14:section>
        <p14:section name="Table of Contents" id="{FA18B408-1F64-104F-87B9-3F83ADF0B054}">
          <p14:sldIdLst>
            <p14:sldId id="6170"/>
          </p14:sldIdLst>
        </p14:section>
        <p14:section name="Introduction" id="{ED2FCAE2-7B73-7346-AB05-DF23A523D556}">
          <p14:sldIdLst/>
        </p14:section>
        <p14:section name="Basic Slides W/O Breadcrumb" id="{CE28B413-57F4-534C-9E05-9338FC4F2AE4}">
          <p14:sldIdLst>
            <p14:sldId id="3227"/>
            <p14:sldId id="3240"/>
            <p14:sldId id="4645"/>
            <p14:sldId id="6165"/>
            <p14:sldId id="6167"/>
            <p14:sldId id="4648"/>
            <p14:sldId id="4649"/>
            <p14:sldId id="4650"/>
            <p14:sldId id="4651"/>
            <p14:sldId id="4652"/>
            <p14:sldId id="3238"/>
            <p14:sldId id="4653"/>
            <p14:sldId id="6169"/>
            <p14:sldId id="4647"/>
          </p14:sldIdLst>
        </p14:section>
        <p14:section name="Basic Slides W Breadcrumb" id="{8E41C934-B5D0-6F49-95EA-7AA0E05572DC}">
          <p14:sldIdLst/>
        </p14:section>
        <p14:section name="Content Samples" id="{A1D1DC2C-B3CC-7D40-8E74-DBCB6FC5FB73}">
          <p14:sldIdLst/>
        </p14:section>
        <p14:section name="Closing" id="{217C369D-AAA8-024B-8BC8-EAC3324A4ED8}">
          <p14:sldIdLst>
            <p14:sldId id="4642"/>
          </p14:sldIdLst>
        </p14:section>
      </p14:sectionLst>
    </p:ext>
    <p:ext uri="{EFAFB233-063F-42B5-8137-9DF3F51BA10A}">
      <p15:sldGuideLst xmlns:p15="http://schemas.microsoft.com/office/powerpoint/2012/main">
        <p15:guide id="10" pos="3552" userDrawn="1">
          <p15:clr>
            <a:srgbClr val="A4A3A4"/>
          </p15:clr>
        </p15:guide>
        <p15:guide id="11" orient="horz" pos="696"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82" clrIdx="0"/>
  <p:cmAuthor id="2" name="Hall, Laura J." initials="HLJ" lastIdx="5" clrIdx="1">
    <p:extLst>
      <p:ext uri="{19B8F6BF-5375-455C-9EA6-DF929625EA0E}">
        <p15:presenceInfo xmlns:p15="http://schemas.microsoft.com/office/powerpoint/2012/main" userId="S::lahall@deloitte.com::fbf71cd5-481f-4c4a-851c-9cfe5035460d" providerId="AD"/>
      </p:ext>
    </p:extLst>
  </p:cmAuthor>
  <p:cmAuthor id="3" name="Jessica" initials="J" lastIdx="1" clrIdx="2">
    <p:extLst>
      <p:ext uri="{19B8F6BF-5375-455C-9EA6-DF929625EA0E}">
        <p15:presenceInfo xmlns:p15="http://schemas.microsoft.com/office/powerpoint/2012/main" userId="S::jfaus@deloitte.com::25f9b826-38db-4700-ae2c-030635b89362" providerId="AD"/>
      </p:ext>
    </p:extLst>
  </p:cmAuthor>
  <p:cmAuthor id="4" name="Chelski, Ashley" initials="CA" lastIdx="5" clrIdx="1">
    <p:extLst>
      <p:ext uri="{19B8F6BF-5375-455C-9EA6-DF929625EA0E}">
        <p15:presenceInfo xmlns:p15="http://schemas.microsoft.com/office/powerpoint/2012/main" userId="S::achelski@deloitte.com::dea4847c-7d8f-4c04-90ab-13e736c969b0" providerId="AD"/>
      </p:ext>
    </p:extLst>
  </p:cmAuthor>
  <p:cmAuthor id="5" name="Kim, Shawn Cha" initials="KSC" lastIdx="3" clrIdx="3">
    <p:extLst>
      <p:ext uri="{19B8F6BF-5375-455C-9EA6-DF929625EA0E}">
        <p15:presenceInfo xmlns:p15="http://schemas.microsoft.com/office/powerpoint/2012/main" userId="S::shkim@deloitte.com::b827a7e2-635f-478d-a4e4-391a2a4217f1" providerId="AD"/>
      </p:ext>
    </p:extLst>
  </p:cmAuthor>
  <p:cmAuthor id="6" name="Ma, Chin" initials="MC" lastIdx="1" clrIdx="4">
    <p:extLst>
      <p:ext uri="{19B8F6BF-5375-455C-9EA6-DF929625EA0E}">
        <p15:presenceInfo xmlns:p15="http://schemas.microsoft.com/office/powerpoint/2012/main" userId="S::cma@deloitte.com::b31cae26-bec3-4bf0-8771-4bdceb5838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F59"/>
    <a:srgbClr val="DDFFFF"/>
    <a:srgbClr val="38807A"/>
    <a:srgbClr val="9DD4CF"/>
    <a:srgbClr val="EEEEB8"/>
    <a:srgbClr val="62B5E5"/>
    <a:srgbClr val="FF008E"/>
    <a:srgbClr val="D1D242"/>
    <a:srgbClr val="76CD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6" autoAdjust="0"/>
    <p:restoredTop sz="77954" autoAdjust="0"/>
  </p:normalViewPr>
  <p:slideViewPr>
    <p:cSldViewPr snapToGrid="0">
      <p:cViewPr varScale="1">
        <p:scale>
          <a:sx n="82" d="100"/>
          <a:sy n="82" d="100"/>
        </p:scale>
        <p:origin x="1626" y="84"/>
      </p:cViewPr>
      <p:guideLst>
        <p:guide pos="3552"/>
        <p:guide orient="horz" pos="696"/>
      </p:guideLst>
    </p:cSldViewPr>
  </p:slideViewPr>
  <p:notesTextViewPr>
    <p:cViewPr>
      <p:scale>
        <a:sx n="1" d="1"/>
        <a:sy n="1" d="1"/>
      </p:scale>
      <p:origin x="0" y="0"/>
    </p:cViewPr>
  </p:notesTextViewPr>
  <p:sorterViewPr>
    <p:cViewPr>
      <p:scale>
        <a:sx n="200" d="100"/>
        <a:sy n="200" d="100"/>
      </p:scale>
      <p:origin x="0" y="-10926"/>
    </p:cViewPr>
  </p:sorterViewPr>
  <p:notesViewPr>
    <p:cSldViewPr snapToGrid="0">
      <p:cViewPr>
        <p:scale>
          <a:sx n="1" d="2"/>
          <a:sy n="1" d="2"/>
        </p:scale>
        <p:origin x="7880" y="351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customXml" Target="../customXml/item21.xml"/><Relationship Id="rId34" Type="http://schemas.openxmlformats.org/officeDocument/2006/relationships/slide" Target="slides/slide11.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6.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Master" Target="slideMasters/slideMaster1.xml"/><Relationship Id="rId28" Type="http://schemas.openxmlformats.org/officeDocument/2006/relationships/slide" Target="slides/slide5.xml"/><Relationship Id="rId36" Type="http://schemas.openxmlformats.org/officeDocument/2006/relationships/slide" Target="slides/slide13.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8.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commentAuthors" Target="commentAuthor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theme" Target="theme/theme1.xml"/><Relationship Id="rId20" Type="http://schemas.openxmlformats.org/officeDocument/2006/relationships/customXml" Target="../customXml/item20.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D018977-0EE8-2F44-A5F3-6B47548C9261}"/>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latin typeface="Open Sans" panose="020B0606030504020204" pitchFamily="34" charset="0"/>
            </a:endParaRPr>
          </a:p>
        </p:txBody>
      </p:sp>
      <p:sp>
        <p:nvSpPr>
          <p:cNvPr id="3" name="Date Placeholder 2">
            <a:extLst>
              <a:ext uri="{FF2B5EF4-FFF2-40B4-BE49-F238E27FC236}">
                <a16:creationId xmlns:a16="http://schemas.microsoft.com/office/drawing/2014/main" id="{8406B25D-270A-C746-87B6-7C62253C42A8}"/>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F7ADBBCA-923A-3441-BFA0-90E5FEDE311A}" type="datetimeFigureOut">
              <a:rPr lang="en-US" smtClean="0">
                <a:latin typeface="Open Sans" panose="020B0606030504020204" pitchFamily="34" charset="0"/>
              </a:rPr>
              <a:t>4/19/2022</a:t>
            </a:fld>
            <a:endParaRPr lang="en-US">
              <a:latin typeface="Open Sans" panose="020B0606030504020204" pitchFamily="34" charset="0"/>
            </a:endParaRPr>
          </a:p>
        </p:txBody>
      </p:sp>
      <p:sp>
        <p:nvSpPr>
          <p:cNvPr id="4" name="Footer Placeholder 3">
            <a:extLst>
              <a:ext uri="{FF2B5EF4-FFF2-40B4-BE49-F238E27FC236}">
                <a16:creationId xmlns:a16="http://schemas.microsoft.com/office/drawing/2014/main" id="{B148285F-DFCF-EA40-B8F0-045E588C5BC2}"/>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latin typeface="Open Sans" panose="020B0606030504020204" pitchFamily="34" charset="0"/>
            </a:endParaRPr>
          </a:p>
        </p:txBody>
      </p:sp>
      <p:sp>
        <p:nvSpPr>
          <p:cNvPr id="5" name="Slide Number Placeholder 4">
            <a:extLst>
              <a:ext uri="{FF2B5EF4-FFF2-40B4-BE49-F238E27FC236}">
                <a16:creationId xmlns:a16="http://schemas.microsoft.com/office/drawing/2014/main" id="{AA192E1C-D389-9D4E-9F4E-1548E0AAA8C1}"/>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025673C3-27A8-D144-A7C0-09FAF063A9CD}"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159450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b="0" i="0">
                <a:latin typeface="Open Sans" panose="020B0606030504020204" pitchFamily="34" charset="0"/>
              </a:defRPr>
            </a:lvl1pPr>
          </a:lstStyle>
          <a:p>
            <a:fld id="{99D25135-8F2B-3A4A-87B4-4A416BBAAFF0}" type="datetimeFigureOut">
              <a:rPr lang="en-US" smtClean="0"/>
              <a:pPr/>
              <a:t>4/19/2022</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b="0" i="0">
                <a:latin typeface="Open Sans" panose="020B0606030504020204" pitchFamily="34" charset="0"/>
              </a:defRPr>
            </a:lvl1pPr>
          </a:lstStyle>
          <a:p>
            <a:fld id="{FF6365D6-AA63-3047-A4C2-A4044CEFE915}" type="slidenum">
              <a:rPr lang="en-US" smtClean="0"/>
              <a:pPr/>
              <a:t>‹#›</a:t>
            </a:fld>
            <a:endParaRPr lang="en-US"/>
          </a:p>
        </p:txBody>
      </p:sp>
    </p:spTree>
    <p:extLst>
      <p:ext uri="{BB962C8B-B14F-4D97-AF65-F5344CB8AC3E}">
        <p14:creationId xmlns:p14="http://schemas.microsoft.com/office/powerpoint/2010/main" val="4029115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pen Sans" panose="020B0606030504020204" pitchFamily="34" charset="0"/>
        <a:ea typeface="+mn-ea"/>
        <a:cs typeface="+mn-cs"/>
      </a:defRPr>
    </a:lvl1pPr>
    <a:lvl2pPr marL="457200" algn="l" defTabSz="914400" rtl="0" eaLnBrk="1" latinLnBrk="0" hangingPunct="1">
      <a:defRPr sz="1200" b="0" i="0" kern="1200">
        <a:solidFill>
          <a:schemeClr val="tx1"/>
        </a:solidFill>
        <a:latin typeface="Open Sans" panose="020B0606030504020204" pitchFamily="34" charset="0"/>
        <a:ea typeface="+mn-ea"/>
        <a:cs typeface="+mn-cs"/>
      </a:defRPr>
    </a:lvl2pPr>
    <a:lvl3pPr marL="914400" algn="l" defTabSz="914400" rtl="0" eaLnBrk="1" latinLnBrk="0" hangingPunct="1">
      <a:defRPr sz="1200" b="0" i="0" kern="1200">
        <a:solidFill>
          <a:schemeClr val="tx1"/>
        </a:solidFill>
        <a:latin typeface="Open Sans" panose="020B0606030504020204" pitchFamily="34" charset="0"/>
        <a:ea typeface="+mn-ea"/>
        <a:cs typeface="+mn-cs"/>
      </a:defRPr>
    </a:lvl3pPr>
    <a:lvl4pPr marL="1371600" algn="l" defTabSz="914400" rtl="0" eaLnBrk="1" latinLnBrk="0" hangingPunct="1">
      <a:defRPr sz="1200" b="0" i="0" kern="1200">
        <a:solidFill>
          <a:schemeClr val="tx1"/>
        </a:solidFill>
        <a:latin typeface="Open Sans" panose="020B0606030504020204" pitchFamily="34" charset="0"/>
        <a:ea typeface="+mn-ea"/>
        <a:cs typeface="+mn-cs"/>
      </a:defRPr>
    </a:lvl4pPr>
    <a:lvl5pPr marL="1828800" algn="l" defTabSz="914400" rtl="0" eaLnBrk="1" latinLnBrk="0" hangingPunct="1">
      <a:defRPr sz="1200" b="0" i="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1</a:t>
            </a:fld>
            <a:endParaRPr lang="en-US" dirty="0"/>
          </a:p>
        </p:txBody>
      </p:sp>
    </p:spTree>
    <p:extLst>
      <p:ext uri="{BB962C8B-B14F-4D97-AF65-F5344CB8AC3E}">
        <p14:creationId xmlns:p14="http://schemas.microsoft.com/office/powerpoint/2010/main" val="606867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Qui possiamo vedere un overview della piattaforma che è stata creata.</a:t>
            </a:r>
          </a:p>
          <a:p>
            <a:endParaRPr lang="it-IT" dirty="0"/>
          </a:p>
          <a:p>
            <a:br>
              <a:rPr lang="it-IT" dirty="0"/>
            </a:br>
            <a:r>
              <a:rPr lang="it-IT" dirty="0"/>
              <a:t>Gli elementi base che la compongono sono 3: Front-end e Back-end e il database Aurora che mantiene i metadati necessari alla gestione dei vari database</a:t>
            </a:r>
          </a:p>
          <a:p>
            <a:endParaRPr lang="it-IT"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10</a:t>
            </a:fld>
            <a:endParaRPr lang="en-US"/>
          </a:p>
        </p:txBody>
      </p:sp>
    </p:spTree>
    <p:extLst>
      <p:ext uri="{BB962C8B-B14F-4D97-AF65-F5344CB8AC3E}">
        <p14:creationId xmlns:p14="http://schemas.microsoft.com/office/powerpoint/2010/main" val="2119613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Il database Aurora su cui ho lavorato, basato su DBMS PostgreSQL, viene utilizzato per tenere traccia degli utenti che hanno accesso alla nuova piattaforma, sia esso un suo amministratore o utente finale, </a:t>
            </a:r>
          </a:p>
          <a:p>
            <a:r>
              <a:rPr lang="it-IT" dirty="0"/>
              <a:t>tenere traccia dei vari permessi di accesso e manipolazione delle tabelle che sono concessi ai gruppi di utenti, </a:t>
            </a:r>
          </a:p>
          <a:p>
            <a:r>
              <a:rPr lang="it-IT" dirty="0"/>
              <a:t>e soprattutto i METADATI legati alle tabelle distribuite nei database esterni.</a:t>
            </a:r>
          </a:p>
          <a:p>
            <a:r>
              <a:rPr lang="it-IT" dirty="0"/>
              <a:t>Questi Metadati consistono nei dati di accesso ai database esterni, le informazioni riguardanti le tabelle che la piattaforma deve mappare, e sopratutto le informazioni sulla struttura delle tabelle, ovvero le informazioni riguardanti le colonne che la compongono</a:t>
            </a:r>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11</a:t>
            </a:fld>
            <a:endParaRPr lang="en-US"/>
          </a:p>
        </p:txBody>
      </p:sp>
    </p:spTree>
    <p:extLst>
      <p:ext uri="{BB962C8B-B14F-4D97-AF65-F5344CB8AC3E}">
        <p14:creationId xmlns:p14="http://schemas.microsoft.com/office/powerpoint/2010/main" val="21075995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Qui viene mostrato ad alto livello l’architettura del back end dove si è concentrata la maggior parte del mio lavoro</a:t>
            </a:r>
          </a:p>
          <a:p>
            <a:r>
              <a:rPr lang="it-IT" dirty="0"/>
              <a:t>Come si può vedere, esistono 2 funzioni lambda che sono comuni a tutti gli utenti,  in modo tale da autorizzare l’accesso solo a quegli utenti che sono censiti nella piattaforma e poterne recuperare le informazioni ove necessario.</a:t>
            </a:r>
            <a:br>
              <a:rPr lang="it-IT" dirty="0"/>
            </a:br>
            <a:r>
              <a:rPr lang="it-IT" dirty="0"/>
              <a:t>Le altre API sono divise in base agli utenti che ne hanno l’accesso: </a:t>
            </a:r>
          </a:p>
          <a:p>
            <a:r>
              <a:rPr lang="it-IT" dirty="0"/>
              <a:t>un amministratore avrà la possibilità di aggiungere e gestire i database esterni, e relative tabelle, e assegnare i permessi di accesso alle tabelle a gruppi di utenti</a:t>
            </a:r>
            <a:br>
              <a:rPr lang="it-IT" dirty="0"/>
            </a:br>
            <a:r>
              <a:rPr lang="it-IT" dirty="0"/>
              <a:t>un utente finale avrà la possibilità di visualizzare, manipolare, esportare o importare i dati delle tabelle in base ai permessi assegnati</a:t>
            </a:r>
          </a:p>
        </p:txBody>
      </p:sp>
      <p:sp>
        <p:nvSpPr>
          <p:cNvPr id="4" name="Slide Number Placeholder 3"/>
          <p:cNvSpPr>
            <a:spLocks noGrp="1"/>
          </p:cNvSpPr>
          <p:nvPr>
            <p:ph type="sldNum" sz="quarter" idx="5"/>
          </p:nvPr>
        </p:nvSpPr>
        <p:spPr/>
        <p:txBody>
          <a:bodyPr/>
          <a:lstStyle/>
          <a:p>
            <a:fld id="{FF6365D6-AA63-3047-A4C2-A4044CEFE915}" type="slidenum">
              <a:rPr lang="en-US" smtClean="0"/>
              <a:pPr/>
              <a:t>12</a:t>
            </a:fld>
            <a:endParaRPr lang="en-US"/>
          </a:p>
        </p:txBody>
      </p:sp>
    </p:spTree>
    <p:extLst>
      <p:ext uri="{BB962C8B-B14F-4D97-AF65-F5344CB8AC3E}">
        <p14:creationId xmlns:p14="http://schemas.microsoft.com/office/powerpoint/2010/main" val="26148616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13</a:t>
            </a:fld>
            <a:endParaRPr lang="en-US"/>
          </a:p>
        </p:txBody>
      </p:sp>
    </p:spTree>
    <p:extLst>
      <p:ext uri="{BB962C8B-B14F-4D97-AF65-F5344CB8AC3E}">
        <p14:creationId xmlns:p14="http://schemas.microsoft.com/office/powerpoint/2010/main" val="15630868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noProof="0" dirty="0"/>
              <a:t>Questo è il flusso di operazioni che dovrà eseguire un amministratore </a:t>
            </a:r>
          </a:p>
          <a:p>
            <a:r>
              <a:rPr lang="it-IT" noProof="0" dirty="0"/>
              <a:t>Dovrà creare una collection a cui associerà le tabelle</a:t>
            </a:r>
          </a:p>
          <a:p>
            <a:r>
              <a:rPr lang="it-IT" noProof="0" dirty="0"/>
              <a:t>Dovrà inserire un database, le tabelle che dovranno essere utilizzabili nella piattaforma e le colonne che le compongono; queste colonne verranno inserite in modo automatico, </a:t>
            </a:r>
          </a:p>
          <a:p>
            <a:r>
              <a:rPr lang="it-IT" noProof="0" dirty="0"/>
              <a:t>quindi si tratterà di eseguire solo degli aggiustamenti ove necessario</a:t>
            </a:r>
          </a:p>
          <a:p>
            <a:r>
              <a:rPr lang="it-IT" noProof="0" dirty="0"/>
              <a:t>Infine dovrà creare dei gruppi utenti e associarene Ie tabelle con i relative permessi</a:t>
            </a:r>
          </a:p>
        </p:txBody>
      </p:sp>
      <p:sp>
        <p:nvSpPr>
          <p:cNvPr id="4" name="Slide Number Placeholder 3"/>
          <p:cNvSpPr>
            <a:spLocks noGrp="1"/>
          </p:cNvSpPr>
          <p:nvPr>
            <p:ph type="sldNum" sz="quarter" idx="5"/>
          </p:nvPr>
        </p:nvSpPr>
        <p:spPr/>
        <p:txBody>
          <a:bodyPr/>
          <a:lstStyle/>
          <a:p>
            <a:fld id="{FF6365D6-AA63-3047-A4C2-A4044CEFE915}" type="slidenum">
              <a:rPr lang="en-US" smtClean="0"/>
              <a:pPr/>
              <a:t>14</a:t>
            </a:fld>
            <a:endParaRPr lang="en-US"/>
          </a:p>
        </p:txBody>
      </p:sp>
    </p:spTree>
    <p:extLst>
      <p:ext uri="{BB962C8B-B14F-4D97-AF65-F5344CB8AC3E}">
        <p14:creationId xmlns:p14="http://schemas.microsoft.com/office/powerpoint/2010/main" val="1396697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Questa è la piattaforma che sarà visibile all’utente finale</a:t>
            </a:r>
            <a:br>
              <a:rPr lang="it-IT" dirty="0"/>
            </a:br>
            <a:br>
              <a:rPr lang="it-IT" dirty="0"/>
            </a:br>
            <a:r>
              <a:rPr lang="it-IT" dirty="0"/>
              <a:t>le tabelle si adatteranno dinamicamente in base all’utente che le visualizza e la loro interazione dipenderà dai permessi ad esso assegnati</a:t>
            </a:r>
          </a:p>
          <a:p>
            <a:br>
              <a:rPr lang="it-IT" dirty="0"/>
            </a:br>
            <a:r>
              <a:rPr lang="it-IT" dirty="0"/>
              <a:t>Con questa nuova piattaforma, ora non è più necessario spendere tempo e risorse per la creazione di pagine statiche, il cliente potrà costruirle in autonomia</a:t>
            </a:r>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15</a:t>
            </a:fld>
            <a:endParaRPr lang="en-US"/>
          </a:p>
        </p:txBody>
      </p:sp>
    </p:spTree>
    <p:extLst>
      <p:ext uri="{BB962C8B-B14F-4D97-AF65-F5344CB8AC3E}">
        <p14:creationId xmlns:p14="http://schemas.microsoft.com/office/powerpoint/2010/main" val="14916671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I possibili sviluppi futuri possono essere:</a:t>
            </a:r>
          </a:p>
          <a:p>
            <a:r>
              <a:rPr lang="it-IT" dirty="0"/>
              <a:t>L’aggiunta di uno step di validazione da parte degli amministratori prima di effettuare la modifica su una tabella</a:t>
            </a:r>
          </a:p>
          <a:p>
            <a:r>
              <a:rPr lang="it-IT" dirty="0"/>
              <a:t>La creazione di grafici utilizzabili per un analisi dei dati</a:t>
            </a:r>
          </a:p>
          <a:p>
            <a:r>
              <a:rPr lang="it-IT" dirty="0"/>
              <a:t>La possibilità di promuovere configurazioni di tabelle tra gli ambienti</a:t>
            </a:r>
          </a:p>
        </p:txBody>
      </p:sp>
      <p:sp>
        <p:nvSpPr>
          <p:cNvPr id="4" name="Slide Number Placeholder 3"/>
          <p:cNvSpPr>
            <a:spLocks noGrp="1"/>
          </p:cNvSpPr>
          <p:nvPr>
            <p:ph type="sldNum" sz="quarter" idx="5"/>
          </p:nvPr>
        </p:nvSpPr>
        <p:spPr/>
        <p:txBody>
          <a:bodyPr/>
          <a:lstStyle/>
          <a:p>
            <a:fld id="{FF6365D6-AA63-3047-A4C2-A4044CEFE915}" type="slidenum">
              <a:rPr lang="en-US" smtClean="0"/>
              <a:pPr/>
              <a:t>16</a:t>
            </a:fld>
            <a:endParaRPr lang="en-US"/>
          </a:p>
        </p:txBody>
      </p:sp>
    </p:spTree>
    <p:extLst>
      <p:ext uri="{BB962C8B-B14F-4D97-AF65-F5344CB8AC3E}">
        <p14:creationId xmlns:p14="http://schemas.microsoft.com/office/powerpoint/2010/main" val="1943771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La presentazione si dividerà in 3 punti </a:t>
            </a:r>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2</a:t>
            </a:fld>
            <a:endParaRPr lang="en-US"/>
          </a:p>
        </p:txBody>
      </p:sp>
    </p:spTree>
    <p:extLst>
      <p:ext uri="{BB962C8B-B14F-4D97-AF65-F5344CB8AC3E}">
        <p14:creationId xmlns:p14="http://schemas.microsoft.com/office/powerpoint/2010/main" val="1396323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Per questa tesi ho lavorato alla Digital Transformation di un cliente di Deloitte.</a:t>
            </a:r>
            <a:br>
              <a:rPr lang="it-IT" dirty="0"/>
            </a:br>
            <a:r>
              <a:rPr lang="it-IT" dirty="0"/>
              <a:t>Nella fattispecie era necessario creare una nuova piattaforma basata sul cloud che permettesse la gestione di database multipli, localizzati su suolo nazionale e internazionale,</a:t>
            </a:r>
          </a:p>
          <a:p>
            <a:r>
              <a:rPr lang="it-IT" dirty="0"/>
              <a:t>attraverso un unica interfaccia che si adattasse automaticamente in base a dei permessi dati agli utenti. Questa nuova piattaforma va a sostituire quella già in uso, in quanto per ogni nuovo database, e relativa tabelle, era necessario creare una nuova interfaccia che permettesse la manipolazione dei dati. Tuttavia queste manipolazioni non eseguivano controlli se determinati utenti avessero i permessi necessari per compierle.</a:t>
            </a:r>
            <a:br>
              <a:rPr lang="it-IT" dirty="0"/>
            </a:br>
            <a:br>
              <a:rPr lang="it-IT" dirty="0"/>
            </a:br>
            <a:endParaRPr lang="en-US" dirty="0"/>
          </a:p>
          <a:p>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3</a:t>
            </a:fld>
            <a:endParaRPr lang="en-US" dirty="0"/>
          </a:p>
        </p:txBody>
      </p:sp>
    </p:spTree>
    <p:extLst>
      <p:ext uri="{BB962C8B-B14F-4D97-AF65-F5344CB8AC3E}">
        <p14:creationId xmlns:p14="http://schemas.microsoft.com/office/powerpoint/2010/main" val="1187455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4</a:t>
            </a:fld>
            <a:endParaRPr lang="en-US" dirty="0"/>
          </a:p>
        </p:txBody>
      </p:sp>
    </p:spTree>
    <p:extLst>
      <p:ext uri="{BB962C8B-B14F-4D97-AF65-F5344CB8AC3E}">
        <p14:creationId xmlns:p14="http://schemas.microsoft.com/office/powerpoint/2010/main" val="4118577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Aft>
                <a:spcPts val="600"/>
              </a:spcAft>
            </a:pPr>
            <a:r>
              <a:rPr lang="it-IT" dirty="0"/>
              <a:t>Per affrontare il problema ho dovuto innanzitutto imparare come funzionasse l’architettura cloud e quali fossero i benefici del suo utilizzo. </a:t>
            </a:r>
            <a:br>
              <a:rPr lang="it-IT" dirty="0"/>
            </a:br>
            <a:endParaRPr lang="it-IT" dirty="0"/>
          </a:p>
          <a:p>
            <a:pPr>
              <a:lnSpc>
                <a:spcPct val="120000"/>
              </a:lnSpc>
              <a:spcAft>
                <a:spcPts val="600"/>
              </a:spcAft>
            </a:pPr>
            <a:r>
              <a:rPr lang="it-IT" dirty="0"/>
              <a:t>Nelle architetture cloud le risorse sono virtualizzate, il che significa che un azienda che decide di intraprendere la cloud trasformation della propria infrastruttura vedrà ridursi le spese di capitale, in quanto non dovrà più acquistare, aggiornare e manutenere l’hardware che compone l’infrastruttura, e le spese operative, in quanto non è più necessario affittare lo spazio o pagare gli stipendi di chi esegue la manutenzione dell’hardware, dato che se ne occuprà il cloud provider. </a:t>
            </a:r>
            <a:br>
              <a:rPr lang="it-IT" dirty="0"/>
            </a:br>
            <a:br>
              <a:rPr lang="it-IT" dirty="0"/>
            </a:br>
            <a:endParaRPr lang="en-US" sz="1200" cap="all" spc="150" baseline="0" dirty="0">
              <a:cs typeface="Calibri Light" panose="020F0302020204030204" pitchFamily="34" charset="0"/>
            </a:endParaRPr>
          </a:p>
          <a:p>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5</a:t>
            </a:fld>
            <a:endParaRPr lang="en-US" dirty="0"/>
          </a:p>
        </p:txBody>
      </p:sp>
    </p:spTree>
    <p:extLst>
      <p:ext uri="{BB962C8B-B14F-4D97-AF65-F5344CB8AC3E}">
        <p14:creationId xmlns:p14="http://schemas.microsoft.com/office/powerpoint/2010/main" val="618645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noProof="0" dirty="0"/>
              <a:t>Una volta comprese le basi del funzionamento dell’architettura cloud, ho dovuto apprendere quali fossero le best practice per lo sviluppo. </a:t>
            </a:r>
          </a:p>
          <a:p>
            <a:r>
              <a:rPr lang="it-IT" noProof="0" dirty="0"/>
              <a:t>A questo scopo viene utilizzata un architettura a microservizi, dove ogni servizio è creato per un unico scopo, come l’autenticazione di un utente mediante delle credenziali fornite, la manipolazione di dati su una data tabella, o la creazione di log per ogni operazione eseguita. Ogni microrservizio viene eseguito nel proprio ambiente con le proprie configurazioni, in modo indipendente dagli altri presenti.</a:t>
            </a:r>
            <a:br>
              <a:rPr lang="it-IT" noProof="0" dirty="0"/>
            </a:br>
            <a:r>
              <a:rPr lang="it-IT" noProof="0" dirty="0"/>
              <a:t>I vantaggi di creare un’applicazione basata su microservizi sono la possibilità di scalare solo determinati servizi ove necessario, la possibilità di aggiornare e creare nuove funzionalità in modo indipendente tra i servizi e la flessibilità nel loro sviluppo</a:t>
            </a:r>
          </a:p>
          <a:p>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6</a:t>
            </a:fld>
            <a:endParaRPr lang="en-US"/>
          </a:p>
        </p:txBody>
      </p:sp>
    </p:spTree>
    <p:extLst>
      <p:ext uri="{BB962C8B-B14F-4D97-AF65-F5344CB8AC3E}">
        <p14:creationId xmlns:p14="http://schemas.microsoft.com/office/powerpoint/2010/main" val="982396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L’architettura a microservizi si sposa con il concetto di architettura serveless, la cui definizione pone un enfasi sul concetto di risorse utilizzate che, invece di essere riservate e pagate in anticipo, vengono fornite su richiesta e pagate in base all’uso. </a:t>
            </a:r>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Utilizzando il metodo tradizionale di riservare risorse cloud, come risorse computazionali, spazio di archiviazione o risorse per il networking, e pagarle in anticipo è possibile che queste risorse non vengano utilizzate. Questo significa che viene pagato qualcosa che non viene utilizzato; con un’ architettura serverless questo non accade.</a:t>
            </a:r>
            <a:endParaRPr lang="en-US" dirty="0"/>
          </a:p>
          <a:p>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7</a:t>
            </a:fld>
            <a:endParaRPr lang="en-US"/>
          </a:p>
        </p:txBody>
      </p:sp>
    </p:spTree>
    <p:extLst>
      <p:ext uri="{BB962C8B-B14F-4D97-AF65-F5344CB8AC3E}">
        <p14:creationId xmlns:p14="http://schemas.microsoft.com/office/powerpoint/2010/main" val="1931611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Il cloud provider scelto per il progetto è stato Amazon Web Services, poichè gia in uso per il processo di Cloud Trasformation da altri progetti in via di sviluppo. </a:t>
            </a:r>
            <a:br>
              <a:rPr lang="it-IT" dirty="0"/>
            </a:br>
            <a:r>
              <a:rPr lang="it-IT" dirty="0"/>
              <a:t>I principali servizi usati sono stati:  </a:t>
            </a:r>
          </a:p>
          <a:p>
            <a:r>
              <a:rPr lang="it-IT" dirty="0"/>
              <a:t>l’amazon api gateway,  un strumento che si comporta come un reverse-proxy che fa da intermediario tra i client e i servizi di back-end;</a:t>
            </a:r>
          </a:p>
          <a:p>
            <a:r>
              <a:rPr lang="it-IT" dirty="0"/>
              <a:t>Le Lambda functions, ovvero un implementazione del serverless computing che permettere di eseguire funzioni su richiesta in base alle chiamate API ricevute dall’API gateway;</a:t>
            </a:r>
          </a:p>
          <a:p>
            <a:r>
              <a:rPr lang="it-IT" dirty="0"/>
              <a:t>Amazon Aurora, un database relazionale usato per tenere traccia dei dati utilizzati per il progetto;</a:t>
            </a:r>
          </a:p>
          <a:p>
            <a:r>
              <a:rPr lang="it-IT" dirty="0"/>
              <a:t>Inoltre, ad eccezione del database Aurora, tutte le risorse sono state create in modo automatico mediante il Serverless framework, un sistema di Infrastructure-as-Code che permette di definire la struttura cloud in modo descrittivo e versionabile</a:t>
            </a:r>
          </a:p>
          <a:p>
            <a:endParaRPr lang="it-IT" dirty="0"/>
          </a:p>
          <a:p>
            <a:endParaRPr lang="en-US"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8</a:t>
            </a:fld>
            <a:endParaRPr lang="en-US"/>
          </a:p>
        </p:txBody>
      </p:sp>
    </p:spTree>
    <p:extLst>
      <p:ext uri="{BB962C8B-B14F-4D97-AF65-F5344CB8AC3E}">
        <p14:creationId xmlns:p14="http://schemas.microsoft.com/office/powerpoint/2010/main" val="2278915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Per la creazione della nuova piattaforma sono stati forniti dal cliente alcuni requirements da rispettare, come la distinzione tra utenti amministratori e utenti finali della piattaforma, la necessità di gestire diversi DBMS contemporaneamente, e soprattuto la gestione mediante permessi delle tabelle, ovvero assegnare determinati permessi di accesso e manipolazione delle varie tabelle a dei gruppi utenti</a:t>
            </a:r>
          </a:p>
          <a:p>
            <a:endParaRPr lang="it-IT" dirty="0"/>
          </a:p>
          <a:p>
            <a:endParaRPr lang="it-IT" dirty="0"/>
          </a:p>
        </p:txBody>
      </p:sp>
      <p:sp>
        <p:nvSpPr>
          <p:cNvPr id="4" name="Slide Number Placeholder 3"/>
          <p:cNvSpPr>
            <a:spLocks noGrp="1"/>
          </p:cNvSpPr>
          <p:nvPr>
            <p:ph type="sldNum" sz="quarter" idx="5"/>
          </p:nvPr>
        </p:nvSpPr>
        <p:spPr/>
        <p:txBody>
          <a:bodyPr/>
          <a:lstStyle/>
          <a:p>
            <a:fld id="{FF6365D6-AA63-3047-A4C2-A4044CEFE915}" type="slidenum">
              <a:rPr lang="en-US" smtClean="0"/>
              <a:pPr/>
              <a:t>9</a:t>
            </a:fld>
            <a:endParaRPr lang="en-US"/>
          </a:p>
        </p:txBody>
      </p:sp>
    </p:spTree>
    <p:extLst>
      <p:ext uri="{BB962C8B-B14F-4D97-AF65-F5344CB8AC3E}">
        <p14:creationId xmlns:p14="http://schemas.microsoft.com/office/powerpoint/2010/main" val="1524953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rowth - Cover 5">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019F252A-74D8-C04F-A755-4BA9E9B8620A}"/>
              </a:ext>
            </a:extLst>
          </p:cNvPr>
          <p:cNvSpPr>
            <a:spLocks noGrp="1"/>
          </p:cNvSpPr>
          <p:nvPr>
            <p:ph type="pic" sz="quarter" idx="14" hasCustomPrompt="1"/>
          </p:nvPr>
        </p:nvSpPr>
        <p:spPr>
          <a:xfrm>
            <a:off x="0" y="0"/>
            <a:ext cx="12192000" cy="6858000"/>
          </a:xfrm>
        </p:spPr>
        <p:txBody>
          <a:bodyPr rIns="274320" anchor="ctr"/>
          <a:lstStyle>
            <a:lvl1pPr algn="r">
              <a:defRPr/>
            </a:lvl1pPr>
          </a:lstStyle>
          <a:p>
            <a:r>
              <a:rPr lang="en-US" dirty="0"/>
              <a:t>Click, drag and drop, or paste in your circle motif image here. </a:t>
            </a:r>
            <a:br>
              <a:rPr lang="en-US" dirty="0"/>
            </a:br>
            <a:r>
              <a:rPr lang="en-US" dirty="0"/>
              <a:t>When done, right-click and “Send to back”</a:t>
            </a:r>
          </a:p>
        </p:txBody>
      </p:sp>
      <p:sp>
        <p:nvSpPr>
          <p:cNvPr id="13" name="Text Placeholder 2">
            <a:extLst>
              <a:ext uri="{FF2B5EF4-FFF2-40B4-BE49-F238E27FC236}">
                <a16:creationId xmlns:a16="http://schemas.microsoft.com/office/drawing/2014/main" id="{A8C4D5DC-52AB-1A45-AFC6-5B7CA4E1B32D}"/>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lnSpc>
                <a:spcPct val="120000"/>
              </a:lnSpc>
              <a:buFontTx/>
              <a:buNone/>
              <a:defRPr sz="1400" b="0" i="0" spc="5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4" name="Text Placeholder 10">
            <a:extLst>
              <a:ext uri="{FF2B5EF4-FFF2-40B4-BE49-F238E27FC236}">
                <a16:creationId xmlns:a16="http://schemas.microsoft.com/office/drawing/2014/main" id="{4052F87C-3A54-1745-8A93-D0C7A400F265}"/>
              </a:ext>
            </a:extLst>
          </p:cNvPr>
          <p:cNvSpPr>
            <a:spLocks noGrp="1"/>
          </p:cNvSpPr>
          <p:nvPr>
            <p:ph type="body" sz="quarter" idx="13" hasCustomPrompt="1"/>
          </p:nvPr>
        </p:nvSpPr>
        <p:spPr>
          <a:xfrm>
            <a:off x="914400" y="5235575"/>
            <a:ext cx="4038600" cy="263525"/>
          </a:xfrm>
          <a:prstGeom prst="rect">
            <a:avLst/>
          </a:prstGeom>
        </p:spPr>
        <p:txBody>
          <a:bodyPr>
            <a:noAutofit/>
          </a:bodyPr>
          <a:lstStyle>
            <a:lvl1pPr marL="0" indent="0">
              <a:lnSpc>
                <a:spcPct val="120000"/>
              </a:lnSpc>
              <a:buFontTx/>
              <a:buNone/>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
        <p:nvSpPr>
          <p:cNvPr id="16" name="Text Placeholder 6">
            <a:extLst>
              <a:ext uri="{FF2B5EF4-FFF2-40B4-BE49-F238E27FC236}">
                <a16:creationId xmlns:a16="http://schemas.microsoft.com/office/drawing/2014/main" id="{007A1A5B-D298-E74A-B342-083E1AD61BA7}"/>
              </a:ext>
            </a:extLst>
          </p:cNvPr>
          <p:cNvSpPr>
            <a:spLocks noGrp="1"/>
          </p:cNvSpPr>
          <p:nvPr>
            <p:ph type="body" sz="quarter" idx="11" hasCustomPrompt="1"/>
          </p:nvPr>
        </p:nvSpPr>
        <p:spPr>
          <a:xfrm>
            <a:off x="914400" y="3344276"/>
            <a:ext cx="4038600" cy="1628558"/>
          </a:xfrm>
          <a:prstGeom prst="rect">
            <a:avLst/>
          </a:prstGeom>
        </p:spPr>
        <p:txBody>
          <a:bodyPr>
            <a:noAutofit/>
          </a:bodyPr>
          <a:lstStyle>
            <a:lvl1pPr marL="0" indent="0">
              <a:lnSpc>
                <a:spcPct val="100000"/>
              </a:lnSpc>
              <a:buFontTx/>
              <a:buNone/>
              <a:defRPr sz="3200" b="0" i="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r>
              <a:rPr lang="en-US" dirty="0"/>
              <a:t>Insert your presentation title, short and sweet</a:t>
            </a:r>
          </a:p>
        </p:txBody>
      </p:sp>
    </p:spTree>
    <p:extLst>
      <p:ext uri="{BB962C8B-B14F-4D97-AF65-F5344CB8AC3E}">
        <p14:creationId xmlns:p14="http://schemas.microsoft.com/office/powerpoint/2010/main" val="2577781209"/>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head: 3 Column">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F932B7AC-E03D-4641-A658-EFC46DA5B953}"/>
              </a:ext>
            </a:extLst>
          </p:cNvPr>
          <p:cNvSpPr>
            <a:spLocks noGrp="1"/>
          </p:cNvSpPr>
          <p:nvPr>
            <p:ph type="body" sz="quarter" idx="14" hasCustomPrompt="1"/>
          </p:nvPr>
        </p:nvSpPr>
        <p:spPr>
          <a:xfrm>
            <a:off x="914399"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itle Placeholder 1">
            <a:extLst>
              <a:ext uri="{FF2B5EF4-FFF2-40B4-BE49-F238E27FC236}">
                <a16:creationId xmlns:a16="http://schemas.microsoft.com/office/drawing/2014/main" id="{59570E4D-82BC-684D-A83D-2FD443B03459}"/>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dirty="0"/>
              <a:t>Your headline goes here when you’re ready</a:t>
            </a:r>
          </a:p>
        </p:txBody>
      </p:sp>
      <p:sp>
        <p:nvSpPr>
          <p:cNvPr id="12" name="Text Placeholder 7">
            <a:extLst>
              <a:ext uri="{FF2B5EF4-FFF2-40B4-BE49-F238E27FC236}">
                <a16:creationId xmlns:a16="http://schemas.microsoft.com/office/drawing/2014/main" id="{FC24007C-6EBB-F74E-BF08-84B841EA7462}"/>
              </a:ext>
            </a:extLst>
          </p:cNvPr>
          <p:cNvSpPr>
            <a:spLocks noGrp="1"/>
          </p:cNvSpPr>
          <p:nvPr>
            <p:ph type="body" sz="quarter" idx="17"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a:t>
            </a:r>
          </a:p>
        </p:txBody>
      </p:sp>
      <p:sp>
        <p:nvSpPr>
          <p:cNvPr id="13" name="Text Placeholder 10">
            <a:extLst>
              <a:ext uri="{FF2B5EF4-FFF2-40B4-BE49-F238E27FC236}">
                <a16:creationId xmlns:a16="http://schemas.microsoft.com/office/drawing/2014/main" id="{6967AB22-C0C0-2742-BD54-6051D20162A5}"/>
              </a:ext>
            </a:extLst>
          </p:cNvPr>
          <p:cNvSpPr>
            <a:spLocks noGrp="1"/>
          </p:cNvSpPr>
          <p:nvPr>
            <p:ph type="body" sz="quarter" idx="18" hasCustomPrompt="1"/>
          </p:nvPr>
        </p:nvSpPr>
        <p:spPr>
          <a:xfrm>
            <a:off x="914399"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10">
            <a:extLst>
              <a:ext uri="{FF2B5EF4-FFF2-40B4-BE49-F238E27FC236}">
                <a16:creationId xmlns:a16="http://schemas.microsoft.com/office/drawing/2014/main" id="{9F6F4BD0-7A9A-DF4C-A6AA-CB06C3594755}"/>
              </a:ext>
            </a:extLst>
          </p:cNvPr>
          <p:cNvSpPr>
            <a:spLocks noGrp="1"/>
          </p:cNvSpPr>
          <p:nvPr>
            <p:ph type="body" sz="quarter" idx="19" hasCustomPrompt="1"/>
          </p:nvPr>
        </p:nvSpPr>
        <p:spPr>
          <a:xfrm>
            <a:off x="4481284"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10">
            <a:extLst>
              <a:ext uri="{FF2B5EF4-FFF2-40B4-BE49-F238E27FC236}">
                <a16:creationId xmlns:a16="http://schemas.microsoft.com/office/drawing/2014/main" id="{C9F84FA3-B8A0-4941-A536-CEE608C571B9}"/>
              </a:ext>
            </a:extLst>
          </p:cNvPr>
          <p:cNvSpPr>
            <a:spLocks noGrp="1"/>
          </p:cNvSpPr>
          <p:nvPr>
            <p:ph type="body" sz="quarter" idx="20" hasCustomPrompt="1"/>
          </p:nvPr>
        </p:nvSpPr>
        <p:spPr>
          <a:xfrm>
            <a:off x="4481284"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Text Placeholder 10">
            <a:extLst>
              <a:ext uri="{FF2B5EF4-FFF2-40B4-BE49-F238E27FC236}">
                <a16:creationId xmlns:a16="http://schemas.microsoft.com/office/drawing/2014/main" id="{32072321-130C-D245-A5D7-D36DF2AB6C6F}"/>
              </a:ext>
            </a:extLst>
          </p:cNvPr>
          <p:cNvSpPr>
            <a:spLocks noGrp="1"/>
          </p:cNvSpPr>
          <p:nvPr>
            <p:ph type="body" sz="quarter" idx="21" hasCustomPrompt="1"/>
          </p:nvPr>
        </p:nvSpPr>
        <p:spPr>
          <a:xfrm>
            <a:off x="8048170"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10">
            <a:extLst>
              <a:ext uri="{FF2B5EF4-FFF2-40B4-BE49-F238E27FC236}">
                <a16:creationId xmlns:a16="http://schemas.microsoft.com/office/drawing/2014/main" id="{3E7B935A-FF82-2443-B5F8-25F63BBDE1D1}"/>
              </a:ext>
            </a:extLst>
          </p:cNvPr>
          <p:cNvSpPr>
            <a:spLocks noGrp="1"/>
          </p:cNvSpPr>
          <p:nvPr>
            <p:ph type="body" sz="quarter" idx="22" hasCustomPrompt="1"/>
          </p:nvPr>
        </p:nvSpPr>
        <p:spPr>
          <a:xfrm>
            <a:off x="8048170"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99946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 Sidebar">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8EC5EC5A-100A-7147-B3DC-6BBBC38A8B41}"/>
              </a:ext>
            </a:extLst>
          </p:cNvPr>
          <p:cNvSpPr>
            <a:spLocks noGrp="1"/>
          </p:cNvSpPr>
          <p:nvPr>
            <p:ph type="body" sz="quarter" idx="14" hasCustomPrompt="1"/>
          </p:nvPr>
        </p:nvSpPr>
        <p:spPr>
          <a:xfrm>
            <a:off x="914400" y="2959100"/>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7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a:t>
            </a:r>
          </a:p>
        </p:txBody>
      </p:sp>
      <p:sp>
        <p:nvSpPr>
          <p:cNvPr id="5" name="Text Placeholder 5">
            <a:extLst>
              <a:ext uri="{FF2B5EF4-FFF2-40B4-BE49-F238E27FC236}">
                <a16:creationId xmlns:a16="http://schemas.microsoft.com/office/drawing/2014/main" id="{12265B65-FBCA-7D49-A4A6-DE6AEF4FFD2F}"/>
              </a:ext>
            </a:extLst>
          </p:cNvPr>
          <p:cNvSpPr>
            <a:spLocks noGrp="1"/>
          </p:cNvSpPr>
          <p:nvPr>
            <p:ph type="body" sz="quarter" idx="21"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slide heading</a:t>
            </a:r>
          </a:p>
        </p:txBody>
      </p:sp>
      <p:sp>
        <p:nvSpPr>
          <p:cNvPr id="6" name="Picture Placeholder 2">
            <a:extLst>
              <a:ext uri="{FF2B5EF4-FFF2-40B4-BE49-F238E27FC236}">
                <a16:creationId xmlns:a16="http://schemas.microsoft.com/office/drawing/2014/main" id="{283AA6D6-7603-414F-9F7C-4F52F4D319BF}"/>
              </a:ext>
            </a:extLst>
          </p:cNvPr>
          <p:cNvSpPr>
            <a:spLocks noGrp="1"/>
          </p:cNvSpPr>
          <p:nvPr>
            <p:ph type="pic" sz="quarter" idx="22" hasCustomPrompt="1"/>
          </p:nvPr>
        </p:nvSpPr>
        <p:spPr>
          <a:xfrm>
            <a:off x="4646613" y="313102"/>
            <a:ext cx="7545387" cy="258398"/>
          </a:xfrm>
        </p:spPr>
        <p:txBody>
          <a:bodyPr wrap="none" lIns="91440" anchor="ctr" anchorCtr="0"/>
          <a:lstStyle>
            <a:lvl1pPr>
              <a:defRPr sz="1200">
                <a:solidFill>
                  <a:schemeClr val="tx1"/>
                </a:solidFill>
              </a:defRPr>
            </a:lvl1pPr>
          </a:lstStyle>
          <a:p>
            <a:r>
              <a:rPr lang="en-US" dirty="0"/>
              <a:t>Click to insert accent graphic or photo. Delete if not needed.</a:t>
            </a:r>
          </a:p>
        </p:txBody>
      </p:sp>
    </p:spTree>
    <p:extLst>
      <p:ext uri="{BB962C8B-B14F-4D97-AF65-F5344CB8AC3E}">
        <p14:creationId xmlns:p14="http://schemas.microsoft.com/office/powerpoint/2010/main" val="30235395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Highlight - 2">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AE60AA89-0F2A-824E-9BA6-AD5D95C0A75C}"/>
              </a:ext>
            </a:extLst>
          </p:cNvPr>
          <p:cNvSpPr>
            <a:spLocks noGrp="1"/>
          </p:cNvSpPr>
          <p:nvPr>
            <p:ph type="body" sz="quarter" idx="14"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15" name="Text Placeholder 9">
            <a:extLst>
              <a:ext uri="{FF2B5EF4-FFF2-40B4-BE49-F238E27FC236}">
                <a16:creationId xmlns:a16="http://schemas.microsoft.com/office/drawing/2014/main" id="{3981EA64-AE5C-AB4F-BD6E-144036821628}"/>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bg1"/>
                </a:solidFill>
              </a:defRPr>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17" name="Text Placeholder 9">
            <a:extLst>
              <a:ext uri="{FF2B5EF4-FFF2-40B4-BE49-F238E27FC236}">
                <a16:creationId xmlns:a16="http://schemas.microsoft.com/office/drawing/2014/main" id="{B7A1B024-03EC-4842-8A95-5E450A66C461}"/>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bg1"/>
                </a:solidFill>
              </a:defRPr>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18" name="Text Placeholder 9">
            <a:extLst>
              <a:ext uri="{FF2B5EF4-FFF2-40B4-BE49-F238E27FC236}">
                <a16:creationId xmlns:a16="http://schemas.microsoft.com/office/drawing/2014/main" id="{97CCDE48-5870-9247-88BF-6577D81C5B9D}"/>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bg1"/>
                </a:solidFill>
              </a:defRPr>
            </a:lvl1pPr>
          </a:lstStyle>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a:t>
            </a:r>
            <a:r>
              <a:rPr lang="en-US" err="1"/>
              <a:t>h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a:t>
            </a:r>
            <a:r>
              <a:rPr lang="en-US"/>
              <a:t> </a:t>
            </a:r>
            <a:r>
              <a:rPr lang="en-US" err="1"/>
              <a:t>adipiscing</a:t>
            </a:r>
            <a:r>
              <a:rPr lang="en-US"/>
              <a:t> ligula </a:t>
            </a:r>
            <a:r>
              <a:rPr lang="en-US" err="1"/>
              <a:t>odio</a:t>
            </a:r>
            <a:r>
              <a:rPr lang="en-US"/>
              <a:t> </a:t>
            </a:r>
            <a:r>
              <a:rPr lang="en-US" err="1"/>
              <a:t>adipiscing</a:t>
            </a:r>
            <a:r>
              <a:rPr lang="en-US"/>
              <a:t> ligula </a:t>
            </a:r>
            <a:r>
              <a:rPr lang="en-US" err="1"/>
              <a:t>odio</a:t>
            </a:r>
            <a:r>
              <a:rPr lang="en-US"/>
              <a:t> g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endParaRPr lang="en-US"/>
          </a:p>
          <a:p>
            <a:pPr lvl="0"/>
            <a:r>
              <a:rPr lang="en-US" err="1"/>
              <a:t>Quisque</a:t>
            </a:r>
            <a:r>
              <a:rPr lang="en-US"/>
              <a:t> </a:t>
            </a:r>
            <a:r>
              <a:rPr lang="en-US" err="1"/>
              <a:t>laoreet</a:t>
            </a:r>
            <a:endParaRPr lang="en-US"/>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id</a:t>
            </a:r>
            <a:r>
              <a:rPr lang="en-US"/>
              <a:t> </a:t>
            </a:r>
            <a:r>
              <a:rPr lang="en-US" err="1"/>
              <a:t>risus</a:t>
            </a:r>
            <a:r>
              <a:rPr lang="en-US"/>
              <a:t> auctor </a:t>
            </a:r>
            <a:r>
              <a:rPr lang="en-US" err="1"/>
              <a:t>inceptos</a:t>
            </a:r>
            <a:r>
              <a:rPr lang="en-US"/>
              <a:t> </a:t>
            </a:r>
            <a:r>
              <a:rPr lang="en-US" err="1"/>
              <a:t>nisl</a:t>
            </a:r>
            <a:r>
              <a:rPr lang="en-US"/>
              <a:t>.</a:t>
            </a:r>
          </a:p>
          <a:p>
            <a:pPr lvl="0"/>
            <a:endParaRPr lang="en-US"/>
          </a:p>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h </a:t>
            </a:r>
            <a:r>
              <a:rPr lang="en-US" err="1"/>
              <a:t>adipiscing</a:t>
            </a:r>
            <a:r>
              <a:rPr lang="en-US"/>
              <a:t> ligula </a:t>
            </a:r>
            <a:r>
              <a:rPr lang="en-US" err="1"/>
              <a:t>odio</a:t>
            </a:r>
            <a:r>
              <a:rPr lang="en-US"/>
              <a:t> </a:t>
            </a:r>
            <a:r>
              <a:rPr lang="en-US" err="1"/>
              <a:t>adipiscing</a:t>
            </a:r>
            <a:r>
              <a:rPr lang="en-US"/>
              <a:t> ligula </a:t>
            </a:r>
            <a:r>
              <a:rPr lang="en-US" err="1"/>
              <a:t>odio</a:t>
            </a:r>
            <a:r>
              <a:rPr lang="en-US"/>
              <a:t> </a:t>
            </a:r>
            <a:r>
              <a:rPr lang="en-US" err="1"/>
              <a:t>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g</a:t>
            </a:r>
            <a:r>
              <a:rPr lang="en-US"/>
              <a:t>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p:txBody>
      </p:sp>
      <p:sp>
        <p:nvSpPr>
          <p:cNvPr id="9" name="Text Placeholder 5">
            <a:extLst>
              <a:ext uri="{FF2B5EF4-FFF2-40B4-BE49-F238E27FC236}">
                <a16:creationId xmlns:a16="http://schemas.microsoft.com/office/drawing/2014/main" id="{F3EFDA6D-62E3-F246-A342-6203B61F75C9}"/>
              </a:ext>
            </a:extLst>
          </p:cNvPr>
          <p:cNvSpPr>
            <a:spLocks noGrp="1"/>
          </p:cNvSpPr>
          <p:nvPr>
            <p:ph type="body" sz="quarter" idx="21"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slide heading</a:t>
            </a:r>
          </a:p>
        </p:txBody>
      </p:sp>
      <p:sp>
        <p:nvSpPr>
          <p:cNvPr id="11" name="Picture Placeholder 2">
            <a:extLst>
              <a:ext uri="{FF2B5EF4-FFF2-40B4-BE49-F238E27FC236}">
                <a16:creationId xmlns:a16="http://schemas.microsoft.com/office/drawing/2014/main" id="{27F86AD2-8630-274F-878E-6BAD33063F6C}"/>
              </a:ext>
            </a:extLst>
          </p:cNvPr>
          <p:cNvSpPr>
            <a:spLocks noGrp="1"/>
          </p:cNvSpPr>
          <p:nvPr>
            <p:ph type="pic" sz="quarter" idx="22" hasCustomPrompt="1"/>
          </p:nvPr>
        </p:nvSpPr>
        <p:spPr>
          <a:xfrm>
            <a:off x="4646613" y="313102"/>
            <a:ext cx="7545387" cy="258398"/>
          </a:xfrm>
        </p:spPr>
        <p:txBody>
          <a:bodyPr wrap="none" lIns="91440" anchor="ctr" anchorCtr="0"/>
          <a:lstStyle>
            <a:lvl1pPr>
              <a:defRPr sz="1200">
                <a:solidFill>
                  <a:schemeClr val="tx1"/>
                </a:solidFill>
              </a:defRPr>
            </a:lvl1pPr>
          </a:lstStyle>
          <a:p>
            <a:r>
              <a:rPr lang="en-US" dirty="0"/>
              <a:t>Click to insert accent graphic or photo</a:t>
            </a:r>
          </a:p>
        </p:txBody>
      </p:sp>
    </p:spTree>
    <p:extLst>
      <p:ext uri="{BB962C8B-B14F-4D97-AF65-F5344CB8AC3E}">
        <p14:creationId xmlns:p14="http://schemas.microsoft.com/office/powerpoint/2010/main" val="32471662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head: Sidebar - No Content">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20788C07-A2FE-F145-9F69-76FEFFC2ECA0}"/>
              </a:ext>
            </a:extLst>
          </p:cNvPr>
          <p:cNvSpPr>
            <a:spLocks noGrp="1"/>
          </p:cNvSpPr>
          <p:nvPr>
            <p:ph type="body" sz="quarter" idx="14" hasCustomPrompt="1"/>
          </p:nvPr>
        </p:nvSpPr>
        <p:spPr>
          <a:xfrm>
            <a:off x="914400" y="2959100"/>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7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a:t>
            </a:r>
          </a:p>
        </p:txBody>
      </p:sp>
      <p:sp>
        <p:nvSpPr>
          <p:cNvPr id="6" name="Text Placeholder 5">
            <a:extLst>
              <a:ext uri="{FF2B5EF4-FFF2-40B4-BE49-F238E27FC236}">
                <a16:creationId xmlns:a16="http://schemas.microsoft.com/office/drawing/2014/main" id="{42229C52-8106-EB42-A504-4930B6D11D33}"/>
              </a:ext>
            </a:extLst>
          </p:cNvPr>
          <p:cNvSpPr>
            <a:spLocks noGrp="1"/>
          </p:cNvSpPr>
          <p:nvPr>
            <p:ph type="body" sz="quarter" idx="21"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slide heading</a:t>
            </a:r>
          </a:p>
        </p:txBody>
      </p:sp>
      <p:sp>
        <p:nvSpPr>
          <p:cNvPr id="3" name="Picture Placeholder 2">
            <a:extLst>
              <a:ext uri="{FF2B5EF4-FFF2-40B4-BE49-F238E27FC236}">
                <a16:creationId xmlns:a16="http://schemas.microsoft.com/office/drawing/2014/main" id="{F8BA54CF-ACBA-E743-9337-04015433D48B}"/>
              </a:ext>
            </a:extLst>
          </p:cNvPr>
          <p:cNvSpPr>
            <a:spLocks noGrp="1"/>
          </p:cNvSpPr>
          <p:nvPr>
            <p:ph type="pic" sz="quarter" idx="22" hasCustomPrompt="1"/>
          </p:nvPr>
        </p:nvSpPr>
        <p:spPr>
          <a:xfrm>
            <a:off x="4953000" y="0"/>
            <a:ext cx="7239000" cy="6858000"/>
          </a:xfrm>
        </p:spPr>
        <p:txBody>
          <a:bodyPr vert="horz" anchor="ctr" anchorCtr="0"/>
          <a:lstStyle>
            <a:lvl1pPr marL="0" marR="0" indent="0" algn="ctr" defTabSz="914400" rtl="0" eaLnBrk="1" fontAlgn="auto" latinLnBrk="0" hangingPunct="1">
              <a:lnSpc>
                <a:spcPct val="120000"/>
              </a:lnSpc>
              <a:spcBef>
                <a:spcPts val="0"/>
              </a:spcBef>
              <a:spcAft>
                <a:spcPts val="1000"/>
              </a:spcAft>
              <a:buClrTx/>
              <a:buSzPct val="100000"/>
              <a:buFont typeface="Arial" panose="020B0604020202020204" pitchFamily="34" charset="0"/>
              <a:buNone/>
              <a:tabLst/>
              <a:defRPr/>
            </a:lvl1pPr>
          </a:lstStyle>
          <a:p>
            <a:pPr marL="0" marR="0" lvl="0" indent="0" algn="l" defTabSz="914400"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dirty="0"/>
              <a:t>Click to insert accent graphic or photo</a:t>
            </a:r>
          </a:p>
        </p:txBody>
      </p:sp>
    </p:spTree>
    <p:extLst>
      <p:ext uri="{BB962C8B-B14F-4D97-AF65-F5344CB8AC3E}">
        <p14:creationId xmlns:p14="http://schemas.microsoft.com/office/powerpoint/2010/main" val="47246736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rge Title -  Messagin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8091A54-4336-CE41-988B-99A4FB780907}"/>
              </a:ext>
            </a:extLst>
          </p:cNvPr>
          <p:cNvSpPr>
            <a:spLocks noGrp="1"/>
          </p:cNvSpPr>
          <p:nvPr>
            <p:ph type="pic" sz="quarter" idx="21" hasCustomPrompt="1"/>
          </p:nvPr>
        </p:nvSpPr>
        <p:spPr>
          <a:xfrm>
            <a:off x="0" y="3367314"/>
            <a:ext cx="4956175" cy="3490687"/>
          </a:xfrm>
        </p:spPr>
        <p:txBody>
          <a:bodyPr anchor="ctr"/>
          <a:lstStyle>
            <a:lvl1pPr algn="ctr">
              <a:defRPr/>
            </a:lvl1pPr>
          </a:lstStyle>
          <a:p>
            <a:r>
              <a:rPr lang="en-US" dirty="0"/>
              <a:t>Click to insert accent graphic or photo</a:t>
            </a:r>
          </a:p>
        </p:txBody>
      </p:sp>
      <p:sp>
        <p:nvSpPr>
          <p:cNvPr id="10" name="Text Placeholder 9">
            <a:extLst>
              <a:ext uri="{FF2B5EF4-FFF2-40B4-BE49-F238E27FC236}">
                <a16:creationId xmlns:a16="http://schemas.microsoft.com/office/drawing/2014/main" id="{99092844-EC15-E84A-9D50-1ADA3C35DAC9}"/>
              </a:ext>
            </a:extLst>
          </p:cNvPr>
          <p:cNvSpPr>
            <a:spLocks noGrp="1"/>
          </p:cNvSpPr>
          <p:nvPr>
            <p:ph type="body" sz="quarter" idx="20" hasCustomPrompt="1"/>
          </p:nvPr>
        </p:nvSpPr>
        <p:spPr>
          <a:xfrm>
            <a:off x="5544667" y="405962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US" dirty="0"/>
              <a:t>Libero </a:t>
            </a:r>
            <a:r>
              <a:rPr lang="en-US" dirty="0" err="1"/>
              <a:t>pellentesque</a:t>
            </a:r>
            <a:r>
              <a:rPr lang="en-US" dirty="0"/>
              <a:t> </a:t>
            </a:r>
            <a:r>
              <a:rPr lang="en-US" dirty="0" err="1"/>
              <a:t>nunc</a:t>
            </a:r>
            <a:r>
              <a:rPr lang="en-US" dirty="0"/>
              <a:t> fames </a:t>
            </a:r>
            <a:r>
              <a:rPr lang="en-US" dirty="0" err="1"/>
              <a:t>penatibus</a:t>
            </a:r>
            <a:r>
              <a:rPr lang="en-US" dirty="0"/>
              <a:t> </a:t>
            </a:r>
            <a:r>
              <a:rPr lang="en-US" dirty="0" err="1"/>
              <a:t>accumsan</a:t>
            </a:r>
            <a:r>
              <a:rPr lang="en-US" dirty="0"/>
              <a:t> </a:t>
            </a:r>
            <a:r>
              <a:rPr lang="en-US" dirty="0" err="1"/>
              <a:t>hendrerit</a:t>
            </a:r>
            <a:r>
              <a:rPr lang="en-US" dirty="0"/>
              <a:t> diam </a:t>
            </a:r>
            <a:r>
              <a:rPr lang="en-US" dirty="0" err="1"/>
              <a:t>platea</a:t>
            </a:r>
            <a:r>
              <a:rPr lang="en-US" dirty="0"/>
              <a:t>, </a:t>
            </a:r>
            <a:r>
              <a:rPr lang="en-US" dirty="0" err="1"/>
              <a:t>himenaeos</a:t>
            </a:r>
            <a:r>
              <a:rPr lang="en-US" dirty="0"/>
              <a:t> </a:t>
            </a:r>
            <a:r>
              <a:rPr lang="en-US" dirty="0" err="1"/>
              <a:t>scelerisque</a:t>
            </a:r>
            <a:r>
              <a:rPr lang="en-US" dirty="0"/>
              <a:t> eros </a:t>
            </a:r>
            <a:r>
              <a:rPr lang="en-US" dirty="0" err="1"/>
              <a:t>congue</a:t>
            </a:r>
            <a:r>
              <a:rPr lang="en-US" dirty="0"/>
              <a:t> vestibulum ipsum </a:t>
            </a:r>
            <a:r>
              <a:rPr lang="en-US" dirty="0" err="1"/>
              <a:t>adipiscin</a:t>
            </a:r>
            <a:r>
              <a:rPr lang="en-US" dirty="0"/>
              <a:t> </a:t>
            </a:r>
            <a:r>
              <a:rPr lang="en-US" dirty="0" err="1"/>
              <a:t>adipiscing</a:t>
            </a:r>
            <a:r>
              <a:rPr lang="en-US" dirty="0"/>
              <a:t> ligula </a:t>
            </a:r>
            <a:r>
              <a:rPr lang="en-US" dirty="0" err="1"/>
              <a:t>odio</a:t>
            </a:r>
            <a:r>
              <a:rPr lang="en-US" dirty="0"/>
              <a:t> </a:t>
            </a:r>
            <a:r>
              <a:rPr lang="en-US" dirty="0" err="1"/>
              <a:t>adipiscing</a:t>
            </a:r>
            <a:r>
              <a:rPr lang="en-US" dirty="0"/>
              <a:t> ligula </a:t>
            </a:r>
            <a:r>
              <a:rPr lang="en-US" dirty="0" err="1"/>
              <a:t>odio</a:t>
            </a:r>
            <a:r>
              <a:rPr lang="en-US" dirty="0"/>
              <a:t> g ligula </a:t>
            </a:r>
            <a:r>
              <a:rPr lang="en-US" dirty="0" err="1"/>
              <a:t>odio</a:t>
            </a:r>
            <a:r>
              <a:rPr lang="en-US" dirty="0"/>
              <a:t>, </a:t>
            </a:r>
            <a:r>
              <a:rPr lang="en-US" dirty="0" err="1"/>
              <a:t>neque</a:t>
            </a:r>
            <a:r>
              <a:rPr lang="en-US" dirty="0"/>
              <a:t> </a:t>
            </a:r>
            <a:r>
              <a:rPr lang="en-US" dirty="0" err="1"/>
              <a:t>metus</a:t>
            </a:r>
            <a:r>
              <a:rPr lang="en-US" dirty="0"/>
              <a:t> </a:t>
            </a:r>
            <a:r>
              <a:rPr lang="en-US" dirty="0" err="1"/>
              <a:t>sociisetur</a:t>
            </a:r>
            <a:r>
              <a:rPr lang="en-US" dirty="0"/>
              <a:t> </a:t>
            </a:r>
            <a:r>
              <a:rPr lang="en-US" dirty="0" err="1"/>
              <a:t>facilisis</a:t>
            </a:r>
            <a:r>
              <a:rPr lang="en-US" dirty="0"/>
              <a:t> </a:t>
            </a:r>
            <a:r>
              <a:rPr lang="en-US" dirty="0" err="1"/>
              <a:t>sagittis</a:t>
            </a:r>
            <a:r>
              <a:rPr lang="en-US" dirty="0"/>
              <a:t> </a:t>
            </a:r>
            <a:r>
              <a:rPr lang="en-US" dirty="0" err="1"/>
              <a:t>tincidunt</a:t>
            </a:r>
            <a:r>
              <a:rPr lang="en-US" dirty="0"/>
              <a:t>.</a:t>
            </a:r>
          </a:p>
          <a:p>
            <a:pPr lvl="0"/>
            <a:r>
              <a:rPr lang="en-US" dirty="0" err="1"/>
              <a:t>Viverra</a:t>
            </a:r>
            <a:r>
              <a:rPr lang="en-US" dirty="0"/>
              <a:t> dolor eros semper </a:t>
            </a:r>
            <a:r>
              <a:rPr lang="en-US" dirty="0" err="1"/>
              <a:t>sociosqu</a:t>
            </a:r>
            <a:r>
              <a:rPr lang="en-US" dirty="0"/>
              <a:t> </a:t>
            </a:r>
            <a:r>
              <a:rPr lang="en-US" dirty="0" err="1"/>
              <a:t>lobortis</a:t>
            </a:r>
            <a:r>
              <a:rPr lang="en-US" dirty="0"/>
              <a:t> </a:t>
            </a:r>
            <a:r>
              <a:rPr lang="en-US" dirty="0" err="1"/>
              <a:t>sodales</a:t>
            </a:r>
            <a:r>
              <a:rPr lang="en-US" dirty="0"/>
              <a:t> </a:t>
            </a:r>
            <a:r>
              <a:rPr lang="en-US" dirty="0" err="1"/>
              <a:t>metus</a:t>
            </a:r>
            <a:r>
              <a:rPr lang="en-US" dirty="0"/>
              <a:t> </a:t>
            </a:r>
            <a:r>
              <a:rPr lang="en-US" dirty="0" err="1"/>
              <a:t>velit</a:t>
            </a:r>
            <a:r>
              <a:rPr lang="en-US" dirty="0"/>
              <a:t>, </a:t>
            </a:r>
            <a:r>
              <a:rPr lang="en-US" dirty="0" err="1"/>
              <a:t>nulla</a:t>
            </a:r>
            <a:r>
              <a:rPr lang="en-US" dirty="0"/>
              <a:t> </a:t>
            </a:r>
            <a:r>
              <a:rPr lang="en-US" dirty="0" err="1"/>
              <a:t>leo</a:t>
            </a:r>
            <a:r>
              <a:rPr lang="en-US" dirty="0"/>
              <a:t> </a:t>
            </a:r>
            <a:r>
              <a:rPr lang="en-US" dirty="0" err="1"/>
              <a:t>turpis</a:t>
            </a:r>
            <a:r>
              <a:rPr lang="en-US" dirty="0"/>
              <a:t> </a:t>
            </a:r>
            <a:r>
              <a:rPr lang="en-US" dirty="0" err="1"/>
              <a:t>enim</a:t>
            </a:r>
            <a:r>
              <a:rPr lang="en-US" dirty="0"/>
              <a:t> </a:t>
            </a:r>
            <a:r>
              <a:rPr lang="en-US" dirty="0" err="1"/>
              <a:t>quis</a:t>
            </a:r>
            <a:r>
              <a:rPr lang="en-US" dirty="0"/>
              <a:t> </a:t>
            </a:r>
            <a:r>
              <a:rPr lang="en-US" dirty="0" err="1"/>
              <a:t>platea</a:t>
            </a:r>
            <a:r>
              <a:rPr lang="en-US" dirty="0"/>
              <a:t> cursus per </a:t>
            </a:r>
            <a:r>
              <a:rPr lang="en-US" dirty="0" err="1"/>
              <a:t>sid</a:t>
            </a:r>
            <a:r>
              <a:rPr lang="en-US" dirty="0"/>
              <a:t> </a:t>
            </a:r>
            <a:r>
              <a:rPr lang="en-US" dirty="0" err="1"/>
              <a:t>risus</a:t>
            </a:r>
            <a:r>
              <a:rPr lang="en-US" dirty="0"/>
              <a:t> auctor </a:t>
            </a:r>
            <a:r>
              <a:rPr lang="en-US" dirty="0" err="1"/>
              <a:t>inceptos</a:t>
            </a:r>
            <a:r>
              <a:rPr lang="en-US" dirty="0"/>
              <a:t> </a:t>
            </a:r>
            <a:r>
              <a:rPr lang="en-US" dirty="0" err="1"/>
              <a:t>nisl</a:t>
            </a:r>
            <a:r>
              <a:rPr lang="en-US" dirty="0"/>
              <a:t>.</a:t>
            </a:r>
          </a:p>
          <a:p>
            <a:pPr lvl="0"/>
            <a:r>
              <a:rPr lang="en-US" dirty="0"/>
              <a:t>Libero </a:t>
            </a:r>
            <a:r>
              <a:rPr lang="en-US" dirty="0" err="1"/>
              <a:t>pellentesque</a:t>
            </a:r>
            <a:r>
              <a:rPr lang="en-US" dirty="0"/>
              <a:t> </a:t>
            </a:r>
            <a:r>
              <a:rPr lang="en-US" dirty="0" err="1"/>
              <a:t>nunc</a:t>
            </a:r>
            <a:r>
              <a:rPr lang="en-US" dirty="0"/>
              <a:t> fames </a:t>
            </a:r>
            <a:r>
              <a:rPr lang="en-US" dirty="0" err="1"/>
              <a:t>penatibus</a:t>
            </a:r>
            <a:r>
              <a:rPr lang="en-US" dirty="0"/>
              <a:t> </a:t>
            </a:r>
            <a:r>
              <a:rPr lang="en-US" dirty="0" err="1"/>
              <a:t>accumsan</a:t>
            </a:r>
            <a:r>
              <a:rPr lang="en-US" dirty="0"/>
              <a:t> h </a:t>
            </a:r>
            <a:r>
              <a:rPr lang="en-US" dirty="0" err="1"/>
              <a:t>adipiscing</a:t>
            </a:r>
            <a:r>
              <a:rPr lang="en-US" dirty="0"/>
              <a:t> ligula </a:t>
            </a:r>
            <a:r>
              <a:rPr lang="en-US" dirty="0" err="1"/>
              <a:t>odio</a:t>
            </a:r>
            <a:r>
              <a:rPr lang="en-US" dirty="0"/>
              <a:t> </a:t>
            </a:r>
            <a:r>
              <a:rPr lang="en-US" dirty="0" err="1"/>
              <a:t>adipiscing</a:t>
            </a:r>
            <a:r>
              <a:rPr lang="en-US" dirty="0"/>
              <a:t> ligula </a:t>
            </a:r>
            <a:r>
              <a:rPr lang="en-US" dirty="0" err="1"/>
              <a:t>odio</a:t>
            </a:r>
            <a:r>
              <a:rPr lang="en-US" dirty="0"/>
              <a:t> </a:t>
            </a:r>
            <a:r>
              <a:rPr lang="en-US" dirty="0" err="1"/>
              <a:t>endrerit</a:t>
            </a:r>
            <a:r>
              <a:rPr lang="en-US" dirty="0"/>
              <a:t> diam </a:t>
            </a:r>
            <a:r>
              <a:rPr lang="en-US" dirty="0" err="1"/>
              <a:t>platea</a:t>
            </a:r>
            <a:r>
              <a:rPr lang="en-US" dirty="0"/>
              <a:t>, </a:t>
            </a:r>
            <a:r>
              <a:rPr lang="en-US" dirty="0" err="1"/>
              <a:t>himenaeos</a:t>
            </a:r>
            <a:r>
              <a:rPr lang="en-US" dirty="0"/>
              <a:t> </a:t>
            </a:r>
            <a:r>
              <a:rPr lang="en-US" dirty="0" err="1"/>
              <a:t>scelerisque</a:t>
            </a:r>
            <a:r>
              <a:rPr lang="en-US" dirty="0"/>
              <a:t> eros </a:t>
            </a:r>
            <a:r>
              <a:rPr lang="en-US" dirty="0" err="1"/>
              <a:t>congue</a:t>
            </a:r>
            <a:r>
              <a:rPr lang="en-US" dirty="0"/>
              <a:t> vestibulum ipsum </a:t>
            </a:r>
            <a:r>
              <a:rPr lang="en-US" dirty="0" err="1"/>
              <a:t>adipiscing</a:t>
            </a:r>
            <a:r>
              <a:rPr lang="en-US" dirty="0"/>
              <a:t> ligula </a:t>
            </a:r>
            <a:r>
              <a:rPr lang="en-US" dirty="0" err="1"/>
              <a:t>odio</a:t>
            </a:r>
            <a:r>
              <a:rPr lang="en-US" dirty="0"/>
              <a:t>, </a:t>
            </a:r>
            <a:r>
              <a:rPr lang="en-US" dirty="0" err="1"/>
              <a:t>neque</a:t>
            </a:r>
            <a:r>
              <a:rPr lang="en-US" dirty="0"/>
              <a:t> </a:t>
            </a:r>
            <a:r>
              <a:rPr lang="en-US" dirty="0" err="1"/>
              <a:t>metus</a:t>
            </a:r>
            <a:r>
              <a:rPr lang="en-US" dirty="0"/>
              <a:t> </a:t>
            </a:r>
            <a:r>
              <a:rPr lang="en-US" dirty="0" err="1"/>
              <a:t>sociisetur</a:t>
            </a:r>
            <a:r>
              <a:rPr lang="en-US" dirty="0"/>
              <a:t> </a:t>
            </a:r>
            <a:r>
              <a:rPr lang="en-US" dirty="0" err="1"/>
              <a:t>facilisis</a:t>
            </a:r>
            <a:r>
              <a:rPr lang="en-US" dirty="0"/>
              <a:t> </a:t>
            </a:r>
            <a:r>
              <a:rPr lang="en-US" dirty="0" err="1"/>
              <a:t>sagittis</a:t>
            </a:r>
            <a:r>
              <a:rPr lang="en-US" dirty="0"/>
              <a:t> </a:t>
            </a:r>
            <a:r>
              <a:rPr lang="en-US" dirty="0" err="1"/>
              <a:t>tincidunt</a:t>
            </a:r>
            <a:r>
              <a:rPr lang="en-US" dirty="0"/>
              <a:t>.</a:t>
            </a:r>
          </a:p>
          <a:p>
            <a:pPr lvl="0"/>
            <a:endParaRPr lang="en-US" dirty="0"/>
          </a:p>
        </p:txBody>
      </p:sp>
      <p:sp>
        <p:nvSpPr>
          <p:cNvPr id="7" name="Title Placeholder 1">
            <a:extLst>
              <a:ext uri="{FF2B5EF4-FFF2-40B4-BE49-F238E27FC236}">
                <a16:creationId xmlns:a16="http://schemas.microsoft.com/office/drawing/2014/main" id="{866A2327-AE66-4449-BA17-9DA27279428D}"/>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Your headline goes here when you’re ready</a:t>
            </a:r>
          </a:p>
        </p:txBody>
      </p:sp>
      <p:sp>
        <p:nvSpPr>
          <p:cNvPr id="8" name="Text Placeholder 10">
            <a:extLst>
              <a:ext uri="{FF2B5EF4-FFF2-40B4-BE49-F238E27FC236}">
                <a16:creationId xmlns:a16="http://schemas.microsoft.com/office/drawing/2014/main" id="{066A6DCC-A893-B249-AAB2-1B0DD5F357DD}"/>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err="1"/>
              <a:t>Mollis</a:t>
            </a:r>
            <a:r>
              <a:rPr lang="en-US"/>
              <a:t> </a:t>
            </a:r>
            <a:r>
              <a:rPr lang="en-US" err="1"/>
              <a:t>pretium</a:t>
            </a:r>
            <a:r>
              <a:rPr lang="en-US"/>
              <a:t> lorem </a:t>
            </a:r>
            <a:r>
              <a:rPr lang="en-US" err="1"/>
              <a:t>primisetua</a:t>
            </a:r>
            <a:r>
              <a:rPr lang="en-US"/>
              <a:t>, </a:t>
            </a:r>
            <a:r>
              <a:rPr lang="en-US" err="1"/>
              <a:t>senectus</a:t>
            </a:r>
            <a:r>
              <a:rPr lang="en-US"/>
              <a:t> </a:t>
            </a:r>
            <a:r>
              <a:rPr lang="en-US" err="1"/>
              <a:t>habitasse</a:t>
            </a:r>
            <a:r>
              <a:rPr lang="en-US"/>
              <a:t> </a:t>
            </a:r>
            <a:r>
              <a:rPr lang="en-US" err="1"/>
              <a:t>lectusetu</a:t>
            </a:r>
            <a:r>
              <a:rPr lang="en-US"/>
              <a:t> </a:t>
            </a:r>
            <a:r>
              <a:rPr lang="en-US" err="1"/>
              <a:t>doler</a:t>
            </a:r>
            <a:r>
              <a:rPr lang="en-US"/>
              <a:t> </a:t>
            </a:r>
            <a:r>
              <a:rPr lang="en-US" err="1"/>
              <a:t>scelerisque</a:t>
            </a:r>
            <a:r>
              <a:rPr lang="en-US"/>
              <a:t> </a:t>
            </a:r>
            <a:r>
              <a:rPr lang="en-US" err="1"/>
              <a:t>donec</a:t>
            </a:r>
            <a:r>
              <a:rPr lang="en-US"/>
              <a:t>, </a:t>
            </a:r>
            <a:r>
              <a:rPr lang="en-US" err="1"/>
              <a:t>ultricies</a:t>
            </a:r>
            <a:r>
              <a:rPr lang="en-US"/>
              <a:t> </a:t>
            </a:r>
            <a:r>
              <a:rPr lang="en-US" err="1"/>
              <a:t>tortor</a:t>
            </a:r>
            <a:r>
              <a:rPr lang="en-US"/>
              <a:t> </a:t>
            </a:r>
            <a:r>
              <a:rPr lang="en-US" err="1"/>
              <a:t>suspendisse</a:t>
            </a:r>
            <a:r>
              <a:rPr lang="en-US"/>
              <a:t> </a:t>
            </a:r>
            <a:r>
              <a:rPr lang="en-US" err="1"/>
              <a:t>adipiscing</a:t>
            </a:r>
            <a:r>
              <a:rPr lang="en-US"/>
              <a:t> </a:t>
            </a:r>
            <a:r>
              <a:rPr lang="en-US" err="1"/>
              <a:t>fusce</a:t>
            </a:r>
            <a:r>
              <a:rPr lang="en-US"/>
              <a:t> </a:t>
            </a:r>
            <a:r>
              <a:rPr lang="en-US" err="1"/>
              <a:t>morbi</a:t>
            </a:r>
            <a:r>
              <a:rPr lang="en-US"/>
              <a:t> </a:t>
            </a:r>
            <a:r>
              <a:rPr lang="en-US" err="1"/>
              <a:t>volutpat</a:t>
            </a:r>
            <a:r>
              <a:rPr lang="en-US"/>
              <a:t> </a:t>
            </a:r>
            <a:r>
              <a:rPr lang="en-US" err="1"/>
              <a:t>pellentesque</a:t>
            </a:r>
            <a:r>
              <a:rPr lang="en-US"/>
              <a:t>, </a:t>
            </a:r>
            <a:r>
              <a:rPr lang="en-US" err="1"/>
              <a:t>consectetur</a:t>
            </a:r>
            <a:r>
              <a:rPr lang="en-US"/>
              <a:t> mi </a:t>
            </a:r>
            <a:r>
              <a:rPr lang="en-US" err="1"/>
              <a:t>risus</a:t>
            </a:r>
            <a:r>
              <a:rPr lang="en-US"/>
              <a:t> </a:t>
            </a:r>
            <a:r>
              <a:rPr lang="en-US" err="1"/>
              <a:t>molestie</a:t>
            </a:r>
            <a:r>
              <a:rPr lang="en-US"/>
              <a:t> </a:t>
            </a:r>
            <a:r>
              <a:rPr lang="en-US" err="1"/>
              <a:t>curae</a:t>
            </a:r>
            <a:r>
              <a:rPr lang="en-US"/>
              <a:t> </a:t>
            </a:r>
            <a:r>
              <a:rPr lang="en-US" err="1"/>
              <a:t>malesuada</a:t>
            </a:r>
            <a:r>
              <a:rPr lang="en-US"/>
              <a:t>. Massa </a:t>
            </a:r>
            <a:r>
              <a:rPr lang="en-US" err="1"/>
              <a:t>curae</a:t>
            </a:r>
            <a:r>
              <a:rPr lang="en-US"/>
              <a:t> </a:t>
            </a:r>
            <a:r>
              <a:rPr lang="en-US" err="1"/>
              <a:t>fringilla</a:t>
            </a:r>
            <a:r>
              <a:rPr lang="en-US"/>
              <a:t> </a:t>
            </a:r>
            <a:r>
              <a:rPr lang="en-US" err="1"/>
              <a:t>porttitor</a:t>
            </a:r>
            <a:r>
              <a:rPr lang="en-US"/>
              <a:t> </a:t>
            </a:r>
            <a:r>
              <a:rPr lang="en-US" err="1"/>
              <a:t>quam</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a:t>
            </a:r>
          </a:p>
        </p:txBody>
      </p:sp>
      <p:sp>
        <p:nvSpPr>
          <p:cNvPr id="9" name="Text Placeholder 10">
            <a:extLst>
              <a:ext uri="{FF2B5EF4-FFF2-40B4-BE49-F238E27FC236}">
                <a16:creationId xmlns:a16="http://schemas.microsoft.com/office/drawing/2014/main" id="{A153E9D7-C4F7-DC40-9524-D1219232B105}"/>
              </a:ext>
            </a:extLst>
          </p:cNvPr>
          <p:cNvSpPr>
            <a:spLocks noGrp="1"/>
          </p:cNvSpPr>
          <p:nvPr>
            <p:ph type="body" sz="quarter" idx="22" hasCustomPrompt="1"/>
          </p:nvPr>
        </p:nvSpPr>
        <p:spPr>
          <a:xfrm>
            <a:off x="5544667" y="3360416"/>
            <a:ext cx="3198133" cy="206210"/>
          </a:xfrm>
          <a:prstGeom prst="rect">
            <a:avLst/>
          </a:prstGeom>
        </p:spPr>
        <p:txBody>
          <a:bodyPr anchor="t">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1" i="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3098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Title -  Messaging - Color Background">
    <p:bg>
      <p:bgPr>
        <a:solidFill>
          <a:schemeClr val="accent2"/>
        </a:solidFill>
        <a:effectLst/>
      </p:bgPr>
    </p:bg>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492624"/>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dirty="0" err="1"/>
              <a:t>Mollis</a:t>
            </a:r>
            <a:r>
              <a:rPr lang="en-US" dirty="0"/>
              <a:t> </a:t>
            </a:r>
            <a:r>
              <a:rPr lang="en-US" dirty="0" err="1"/>
              <a:t>pretium</a:t>
            </a:r>
            <a:r>
              <a:rPr lang="en-US" dirty="0"/>
              <a:t> lorem </a:t>
            </a:r>
            <a:r>
              <a:rPr lang="en-US" dirty="0" err="1"/>
              <a:t>primisetua</a:t>
            </a:r>
            <a:r>
              <a:rPr lang="en-US" dirty="0"/>
              <a:t>, </a:t>
            </a:r>
            <a:r>
              <a:rPr lang="en-US" dirty="0" err="1"/>
              <a:t>senectus</a:t>
            </a:r>
            <a:r>
              <a:rPr lang="en-US" dirty="0"/>
              <a:t> </a:t>
            </a:r>
            <a:r>
              <a:rPr lang="en-US" dirty="0" err="1"/>
              <a:t>habitasse</a:t>
            </a:r>
            <a:r>
              <a:rPr lang="en-US" dirty="0"/>
              <a:t> </a:t>
            </a:r>
            <a:r>
              <a:rPr lang="en-US" dirty="0" err="1"/>
              <a:t>lectusetu</a:t>
            </a:r>
            <a:r>
              <a:rPr lang="en-US" dirty="0"/>
              <a:t> </a:t>
            </a:r>
            <a:r>
              <a:rPr lang="en-US" dirty="0" err="1"/>
              <a:t>doler</a:t>
            </a:r>
            <a:r>
              <a:rPr lang="en-US" dirty="0"/>
              <a:t> </a:t>
            </a:r>
            <a:r>
              <a:rPr lang="en-US" dirty="0" err="1"/>
              <a:t>scelerisque</a:t>
            </a:r>
            <a:r>
              <a:rPr lang="en-US" dirty="0"/>
              <a:t> </a:t>
            </a:r>
            <a:r>
              <a:rPr lang="en-US" dirty="0" err="1"/>
              <a:t>donec</a:t>
            </a:r>
            <a:r>
              <a:rPr lang="en-US" dirty="0"/>
              <a:t>, </a:t>
            </a:r>
            <a:r>
              <a:rPr lang="en-US" dirty="0" err="1"/>
              <a:t>ultricies</a:t>
            </a:r>
            <a:r>
              <a:rPr lang="en-US" dirty="0"/>
              <a:t> </a:t>
            </a:r>
            <a:r>
              <a:rPr lang="en-US" dirty="0" err="1"/>
              <a:t>tortor</a:t>
            </a:r>
            <a:r>
              <a:rPr lang="en-US" dirty="0"/>
              <a:t> </a:t>
            </a:r>
            <a:r>
              <a:rPr lang="en-US" dirty="0" err="1"/>
              <a:t>suspendisse</a:t>
            </a:r>
            <a:r>
              <a:rPr lang="en-US" dirty="0"/>
              <a:t> </a:t>
            </a:r>
            <a:r>
              <a:rPr lang="en-US" dirty="0" err="1"/>
              <a:t>adipiscing</a:t>
            </a:r>
            <a:r>
              <a:rPr lang="en-US" dirty="0"/>
              <a:t> </a:t>
            </a:r>
            <a:r>
              <a:rPr lang="en-US" dirty="0" err="1"/>
              <a:t>fusce</a:t>
            </a:r>
            <a:r>
              <a:rPr lang="en-US" dirty="0"/>
              <a:t> </a:t>
            </a:r>
            <a:r>
              <a:rPr lang="en-US" dirty="0" err="1"/>
              <a:t>morbi</a:t>
            </a:r>
            <a:r>
              <a:rPr lang="en-US" dirty="0"/>
              <a:t> </a:t>
            </a:r>
            <a:r>
              <a:rPr lang="en-US" dirty="0" err="1"/>
              <a:t>volutpat</a:t>
            </a:r>
            <a:r>
              <a:rPr lang="en-US" dirty="0"/>
              <a:t> </a:t>
            </a:r>
            <a:r>
              <a:rPr lang="en-US" dirty="0" err="1"/>
              <a:t>pellentesque</a:t>
            </a:r>
            <a:r>
              <a:rPr lang="en-US" dirty="0"/>
              <a:t>, </a:t>
            </a:r>
            <a:r>
              <a:rPr lang="en-US" dirty="0" err="1"/>
              <a:t>consectetur</a:t>
            </a:r>
            <a:r>
              <a:rPr lang="en-US" dirty="0"/>
              <a:t> mi </a:t>
            </a:r>
            <a:r>
              <a:rPr lang="en-US" dirty="0" err="1"/>
              <a:t>risus</a:t>
            </a:r>
            <a:r>
              <a:rPr lang="en-US" dirty="0"/>
              <a:t> </a:t>
            </a:r>
            <a:r>
              <a:rPr lang="en-US" dirty="0" err="1"/>
              <a:t>molestie</a:t>
            </a:r>
            <a:r>
              <a:rPr lang="en-US" dirty="0"/>
              <a:t> </a:t>
            </a:r>
            <a:r>
              <a:rPr lang="en-US" dirty="0" err="1"/>
              <a:t>curae</a:t>
            </a:r>
            <a:r>
              <a:rPr lang="en-US" dirty="0"/>
              <a:t> </a:t>
            </a:r>
            <a:r>
              <a:rPr lang="en-US" dirty="0" err="1"/>
              <a:t>malesuada</a:t>
            </a:r>
            <a:r>
              <a:rPr lang="en-US" dirty="0"/>
              <a:t>. Massa </a:t>
            </a:r>
            <a:r>
              <a:rPr lang="en-US" dirty="0" err="1"/>
              <a:t>curae</a:t>
            </a:r>
            <a:r>
              <a:rPr lang="en-US" dirty="0"/>
              <a:t> </a:t>
            </a:r>
            <a:r>
              <a:rPr lang="en-US" dirty="0" err="1"/>
              <a:t>fringilla</a:t>
            </a:r>
            <a:r>
              <a:rPr lang="en-US" dirty="0"/>
              <a:t> </a:t>
            </a:r>
            <a:r>
              <a:rPr lang="en-US" dirty="0" err="1"/>
              <a:t>porttitor</a:t>
            </a:r>
            <a:r>
              <a:rPr lang="en-US" dirty="0"/>
              <a:t> </a:t>
            </a:r>
            <a:r>
              <a:rPr lang="en-US" dirty="0" err="1"/>
              <a:t>quam</a:t>
            </a:r>
            <a:r>
              <a:rPr lang="en-US" dirty="0"/>
              <a:t> =</a:t>
            </a:r>
            <a:r>
              <a:rPr lang="en-US" dirty="0" err="1"/>
              <a:t>elit</a:t>
            </a:r>
            <a:r>
              <a:rPr lang="en-US" dirty="0"/>
              <a:t>, </a:t>
            </a:r>
            <a:r>
              <a:rPr lang="en-US" dirty="0" err="1"/>
              <a:t>urna</a:t>
            </a:r>
            <a:r>
              <a:rPr lang="en-US" dirty="0"/>
              <a:t> </a:t>
            </a:r>
            <a:r>
              <a:rPr lang="en-US" dirty="0" err="1"/>
              <a:t>consequat</a:t>
            </a:r>
            <a:r>
              <a:rPr lang="en-US" dirty="0"/>
              <a:t> </a:t>
            </a:r>
            <a:r>
              <a:rPr lang="en-US" dirty="0" err="1"/>
              <a:t>felis</a:t>
            </a:r>
            <a:r>
              <a:rPr lang="en-US" dirty="0"/>
              <a:t> </a:t>
            </a:r>
            <a:r>
              <a:rPr lang="en-US" dirty="0" err="1"/>
              <a:t>vehicula</a:t>
            </a:r>
            <a:r>
              <a:rPr lang="en-US" dirty="0"/>
              <a:t> class </a:t>
            </a:r>
            <a:r>
              <a:rPr lang="en-US" dirty="0" err="1"/>
              <a:t>ultricies</a:t>
            </a:r>
            <a:r>
              <a:rPr lang="en-US" dirty="0"/>
              <a:t> </a:t>
            </a:r>
            <a:r>
              <a:rPr lang="en-US" dirty="0" err="1"/>
              <a:t>mollis</a:t>
            </a:r>
            <a:r>
              <a:rPr lang="en-US" dirty="0"/>
              <a:t> </a:t>
            </a:r>
            <a:r>
              <a:rPr lang="en-US" dirty="0" err="1"/>
              <a:t>dictumst</a:t>
            </a:r>
            <a:r>
              <a:rPr lang="en-US" dirty="0"/>
              <a:t>, </a:t>
            </a:r>
            <a:r>
              <a:rPr lang="en-US" dirty="0" err="1"/>
              <a:t>aenean</a:t>
            </a:r>
            <a:r>
              <a:rPr lang="en-US" dirty="0"/>
              <a:t> non a in </a:t>
            </a:r>
            <a:r>
              <a:rPr lang="en-US" dirty="0" err="1"/>
              <a:t>donec</a:t>
            </a:r>
            <a:r>
              <a:rPr lang="en-US" dirty="0"/>
              <a:t> </a:t>
            </a:r>
            <a:r>
              <a:rPr lang="en-US" dirty="0" err="1"/>
              <a:t>nulla</a:t>
            </a:r>
            <a:r>
              <a:rPr lang="en-US" dirty="0"/>
              <a:t>.</a:t>
            </a:r>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US" dirty="0" err="1"/>
              <a:t>Conubia</a:t>
            </a:r>
            <a:r>
              <a:rPr lang="en-US" dirty="0"/>
              <a:t> </a:t>
            </a:r>
            <a:r>
              <a:rPr lang="en-US" dirty="0" err="1"/>
              <a:t>aptent</a:t>
            </a:r>
            <a:r>
              <a:rPr lang="en-US" dirty="0"/>
              <a:t> </a:t>
            </a:r>
            <a:r>
              <a:rPr lang="en-US" dirty="0" err="1"/>
              <a:t>primis</a:t>
            </a:r>
            <a:endParaRPr lang="en-US" dirty="0"/>
          </a:p>
          <a:p>
            <a:pPr lvl="0"/>
            <a:r>
              <a:rPr lang="en-US" dirty="0"/>
              <a:t>Libero </a:t>
            </a:r>
            <a:r>
              <a:rPr lang="en-US" dirty="0" err="1"/>
              <a:t>pellentesque</a:t>
            </a:r>
            <a:r>
              <a:rPr lang="en-US" dirty="0"/>
              <a:t> </a:t>
            </a:r>
            <a:r>
              <a:rPr lang="en-US" dirty="0" err="1"/>
              <a:t>nunc</a:t>
            </a:r>
            <a:r>
              <a:rPr lang="en-US" dirty="0"/>
              <a:t> fames </a:t>
            </a:r>
            <a:r>
              <a:rPr lang="en-US" dirty="0" err="1"/>
              <a:t>penatibus</a:t>
            </a:r>
            <a:r>
              <a:rPr lang="en-US" dirty="0"/>
              <a:t> </a:t>
            </a:r>
            <a:r>
              <a:rPr lang="en-US" dirty="0" err="1"/>
              <a:t>accumsan</a:t>
            </a:r>
            <a:r>
              <a:rPr lang="en-US" dirty="0"/>
              <a:t> </a:t>
            </a:r>
            <a:r>
              <a:rPr lang="en-US" dirty="0" err="1"/>
              <a:t>hendrerit</a:t>
            </a:r>
            <a:r>
              <a:rPr lang="en-US" dirty="0"/>
              <a:t> diam </a:t>
            </a:r>
            <a:r>
              <a:rPr lang="en-US" dirty="0" err="1"/>
              <a:t>platea</a:t>
            </a:r>
            <a:r>
              <a:rPr lang="en-US" dirty="0"/>
              <a:t>, </a:t>
            </a:r>
            <a:r>
              <a:rPr lang="en-US" dirty="0" err="1"/>
              <a:t>himenaeos</a:t>
            </a:r>
            <a:r>
              <a:rPr lang="en-US" dirty="0"/>
              <a:t> </a:t>
            </a:r>
            <a:r>
              <a:rPr lang="en-US" dirty="0" err="1"/>
              <a:t>scelerisque</a:t>
            </a:r>
            <a:r>
              <a:rPr lang="en-US" dirty="0"/>
              <a:t> eros </a:t>
            </a:r>
            <a:r>
              <a:rPr lang="en-US" dirty="0" err="1"/>
              <a:t>congue</a:t>
            </a:r>
            <a:r>
              <a:rPr lang="en-US" dirty="0"/>
              <a:t> vestibulum ipsum </a:t>
            </a:r>
            <a:r>
              <a:rPr lang="en-US" dirty="0" err="1"/>
              <a:t>adipiscin</a:t>
            </a:r>
            <a:r>
              <a:rPr lang="en-US" dirty="0"/>
              <a:t> </a:t>
            </a:r>
            <a:r>
              <a:rPr lang="en-US" dirty="0" err="1"/>
              <a:t>adipiscing</a:t>
            </a:r>
            <a:r>
              <a:rPr lang="en-US" dirty="0"/>
              <a:t> ligula </a:t>
            </a:r>
            <a:r>
              <a:rPr lang="en-US" dirty="0" err="1"/>
              <a:t>odio</a:t>
            </a:r>
            <a:r>
              <a:rPr lang="en-US" dirty="0"/>
              <a:t> </a:t>
            </a:r>
            <a:r>
              <a:rPr lang="en-US" dirty="0" err="1"/>
              <a:t>adipiscing</a:t>
            </a:r>
            <a:r>
              <a:rPr lang="en-US" dirty="0"/>
              <a:t> ligula </a:t>
            </a:r>
            <a:r>
              <a:rPr lang="en-US" dirty="0" err="1"/>
              <a:t>odio</a:t>
            </a:r>
            <a:r>
              <a:rPr lang="en-US" dirty="0"/>
              <a:t> g ligula </a:t>
            </a:r>
            <a:r>
              <a:rPr lang="en-US" dirty="0" err="1"/>
              <a:t>odio</a:t>
            </a:r>
            <a:r>
              <a:rPr lang="en-US" dirty="0"/>
              <a:t>, </a:t>
            </a:r>
            <a:r>
              <a:rPr lang="en-US" dirty="0" err="1"/>
              <a:t>neque</a:t>
            </a:r>
            <a:r>
              <a:rPr lang="en-US" dirty="0"/>
              <a:t> </a:t>
            </a:r>
            <a:r>
              <a:rPr lang="en-US" dirty="0" err="1"/>
              <a:t>metus</a:t>
            </a:r>
            <a:r>
              <a:rPr lang="en-US" dirty="0"/>
              <a:t> </a:t>
            </a:r>
            <a:r>
              <a:rPr lang="en-US" dirty="0" err="1"/>
              <a:t>sociisetur</a:t>
            </a:r>
            <a:r>
              <a:rPr lang="en-US" dirty="0"/>
              <a:t> </a:t>
            </a:r>
            <a:r>
              <a:rPr lang="en-US" dirty="0" err="1"/>
              <a:t>facilisis</a:t>
            </a:r>
            <a:r>
              <a:rPr lang="en-US" dirty="0"/>
              <a:t> </a:t>
            </a:r>
            <a:r>
              <a:rPr lang="en-US" dirty="0" err="1"/>
              <a:t>sagittis</a:t>
            </a:r>
            <a:r>
              <a:rPr lang="en-US" dirty="0"/>
              <a:t> </a:t>
            </a:r>
            <a:r>
              <a:rPr lang="en-US" dirty="0" err="1"/>
              <a:t>tincidunt</a:t>
            </a:r>
            <a:r>
              <a:rPr lang="en-US" dirty="0"/>
              <a:t>.</a:t>
            </a:r>
          </a:p>
          <a:p>
            <a:pPr lvl="0"/>
            <a:r>
              <a:rPr lang="en-US" dirty="0" err="1"/>
              <a:t>Quisque</a:t>
            </a:r>
            <a:r>
              <a:rPr lang="en-US" dirty="0"/>
              <a:t> </a:t>
            </a:r>
            <a:r>
              <a:rPr lang="en-US" dirty="0" err="1"/>
              <a:t>laoreet</a:t>
            </a:r>
            <a:endParaRPr lang="en-US" dirty="0"/>
          </a:p>
          <a:p>
            <a:pPr lvl="0"/>
            <a:r>
              <a:rPr lang="en-US" dirty="0" err="1"/>
              <a:t>Viverra</a:t>
            </a:r>
            <a:r>
              <a:rPr lang="en-US" dirty="0"/>
              <a:t> dolor eros semper </a:t>
            </a:r>
            <a:r>
              <a:rPr lang="en-US" dirty="0" err="1"/>
              <a:t>sociosqu</a:t>
            </a:r>
            <a:r>
              <a:rPr lang="en-US" dirty="0"/>
              <a:t> </a:t>
            </a:r>
            <a:r>
              <a:rPr lang="en-US" dirty="0" err="1"/>
              <a:t>lobortis</a:t>
            </a:r>
            <a:r>
              <a:rPr lang="en-US" dirty="0"/>
              <a:t> </a:t>
            </a:r>
            <a:r>
              <a:rPr lang="en-US" dirty="0" err="1"/>
              <a:t>sodales</a:t>
            </a:r>
            <a:r>
              <a:rPr lang="en-US" dirty="0"/>
              <a:t> </a:t>
            </a:r>
            <a:r>
              <a:rPr lang="en-US" dirty="0" err="1"/>
              <a:t>metus</a:t>
            </a:r>
            <a:r>
              <a:rPr lang="en-US" dirty="0"/>
              <a:t> </a:t>
            </a:r>
            <a:r>
              <a:rPr lang="en-US" dirty="0" err="1"/>
              <a:t>velit</a:t>
            </a:r>
            <a:r>
              <a:rPr lang="en-US" dirty="0"/>
              <a:t>, </a:t>
            </a:r>
            <a:r>
              <a:rPr lang="en-US" dirty="0" err="1"/>
              <a:t>nulla</a:t>
            </a:r>
            <a:r>
              <a:rPr lang="en-US" dirty="0"/>
              <a:t> </a:t>
            </a:r>
            <a:r>
              <a:rPr lang="en-US" dirty="0" err="1"/>
              <a:t>leo</a:t>
            </a:r>
            <a:r>
              <a:rPr lang="en-US" dirty="0"/>
              <a:t> </a:t>
            </a:r>
            <a:r>
              <a:rPr lang="en-US" dirty="0" err="1"/>
              <a:t>turpis</a:t>
            </a:r>
            <a:r>
              <a:rPr lang="en-US" dirty="0"/>
              <a:t> </a:t>
            </a:r>
            <a:r>
              <a:rPr lang="en-US" dirty="0" err="1"/>
              <a:t>enim</a:t>
            </a:r>
            <a:r>
              <a:rPr lang="en-US" dirty="0"/>
              <a:t> </a:t>
            </a:r>
            <a:r>
              <a:rPr lang="en-US" dirty="0" err="1"/>
              <a:t>quis</a:t>
            </a:r>
            <a:r>
              <a:rPr lang="en-US" dirty="0"/>
              <a:t> </a:t>
            </a:r>
            <a:r>
              <a:rPr lang="en-US" dirty="0" err="1"/>
              <a:t>platea</a:t>
            </a:r>
            <a:r>
              <a:rPr lang="en-US" dirty="0"/>
              <a:t> cursus per </a:t>
            </a:r>
            <a:r>
              <a:rPr lang="en-US" dirty="0" err="1"/>
              <a:t>sid</a:t>
            </a:r>
            <a:r>
              <a:rPr lang="en-US" dirty="0"/>
              <a:t> </a:t>
            </a:r>
            <a:r>
              <a:rPr lang="en-US" dirty="0" err="1"/>
              <a:t>risus</a:t>
            </a:r>
            <a:r>
              <a:rPr lang="en-US" dirty="0"/>
              <a:t> auctor </a:t>
            </a:r>
            <a:r>
              <a:rPr lang="en-US" dirty="0" err="1"/>
              <a:t>inceptos</a:t>
            </a:r>
            <a:r>
              <a:rPr lang="en-US" dirty="0"/>
              <a:t> </a:t>
            </a:r>
            <a:r>
              <a:rPr lang="en-US" dirty="0" err="1"/>
              <a:t>nisl</a:t>
            </a:r>
            <a:r>
              <a:rPr lang="en-US" dirty="0"/>
              <a:t>.</a:t>
            </a:r>
          </a:p>
          <a:p>
            <a:pPr lvl="0"/>
            <a:r>
              <a:rPr lang="en-US" dirty="0" err="1"/>
              <a:t>Conubia</a:t>
            </a:r>
            <a:r>
              <a:rPr lang="en-US" dirty="0"/>
              <a:t> </a:t>
            </a:r>
            <a:r>
              <a:rPr lang="en-US" dirty="0" err="1"/>
              <a:t>aptent</a:t>
            </a:r>
            <a:r>
              <a:rPr lang="en-US" dirty="0"/>
              <a:t> </a:t>
            </a:r>
            <a:r>
              <a:rPr lang="en-US" dirty="0" err="1"/>
              <a:t>primis</a:t>
            </a:r>
            <a:endParaRPr lang="en-US" dirty="0"/>
          </a:p>
          <a:p>
            <a:pPr lvl="0"/>
            <a:r>
              <a:rPr lang="en-US" dirty="0"/>
              <a:t>Libero </a:t>
            </a:r>
            <a:r>
              <a:rPr lang="en-US" dirty="0" err="1"/>
              <a:t>pellentesque</a:t>
            </a:r>
            <a:r>
              <a:rPr lang="en-US" dirty="0"/>
              <a:t> </a:t>
            </a:r>
            <a:r>
              <a:rPr lang="en-US" dirty="0" err="1"/>
              <a:t>nunc</a:t>
            </a:r>
            <a:r>
              <a:rPr lang="en-US" dirty="0"/>
              <a:t> fames </a:t>
            </a:r>
            <a:r>
              <a:rPr lang="en-US" dirty="0" err="1"/>
              <a:t>penatibus</a:t>
            </a:r>
            <a:r>
              <a:rPr lang="en-US" dirty="0"/>
              <a:t> </a:t>
            </a:r>
            <a:r>
              <a:rPr lang="en-US" dirty="0" err="1"/>
              <a:t>accumsan</a:t>
            </a:r>
            <a:r>
              <a:rPr lang="en-US" dirty="0"/>
              <a:t> h </a:t>
            </a:r>
            <a:r>
              <a:rPr lang="en-US" dirty="0" err="1"/>
              <a:t>adipiscing</a:t>
            </a:r>
            <a:r>
              <a:rPr lang="en-US" dirty="0"/>
              <a:t> ligula </a:t>
            </a:r>
            <a:r>
              <a:rPr lang="en-US" dirty="0" err="1"/>
              <a:t>odio</a:t>
            </a:r>
            <a:r>
              <a:rPr lang="en-US" dirty="0"/>
              <a:t> </a:t>
            </a:r>
            <a:r>
              <a:rPr lang="en-US" dirty="0" err="1"/>
              <a:t>adipiscing</a:t>
            </a:r>
            <a:r>
              <a:rPr lang="en-US" dirty="0"/>
              <a:t> ligula </a:t>
            </a:r>
            <a:r>
              <a:rPr lang="en-US" dirty="0" err="1"/>
              <a:t>odio</a:t>
            </a:r>
            <a:r>
              <a:rPr lang="en-US" dirty="0"/>
              <a:t> </a:t>
            </a:r>
            <a:r>
              <a:rPr lang="en-US" dirty="0" err="1"/>
              <a:t>endrerit</a:t>
            </a:r>
            <a:r>
              <a:rPr lang="en-US" dirty="0"/>
              <a:t> diam </a:t>
            </a:r>
            <a:r>
              <a:rPr lang="en-US" dirty="0" err="1"/>
              <a:t>platea</a:t>
            </a:r>
            <a:r>
              <a:rPr lang="en-US" dirty="0"/>
              <a:t>, </a:t>
            </a:r>
            <a:r>
              <a:rPr lang="en-US" dirty="0" err="1"/>
              <a:t>himenaeos</a:t>
            </a:r>
            <a:r>
              <a:rPr lang="en-US" dirty="0"/>
              <a:t> </a:t>
            </a:r>
            <a:r>
              <a:rPr lang="en-US" dirty="0" err="1"/>
              <a:t>scelerisque</a:t>
            </a:r>
            <a:r>
              <a:rPr lang="en-US" dirty="0"/>
              <a:t> eros </a:t>
            </a:r>
            <a:r>
              <a:rPr lang="en-US" dirty="0" err="1"/>
              <a:t>congue</a:t>
            </a:r>
            <a:r>
              <a:rPr lang="en-US" dirty="0"/>
              <a:t> vestibulum ipsum </a:t>
            </a:r>
            <a:r>
              <a:rPr lang="en-US" dirty="0" err="1"/>
              <a:t>adipiscing</a:t>
            </a:r>
            <a:r>
              <a:rPr lang="en-US" dirty="0"/>
              <a:t> ligula </a:t>
            </a:r>
            <a:r>
              <a:rPr lang="en-US" dirty="0" err="1"/>
              <a:t>odio</a:t>
            </a:r>
            <a:r>
              <a:rPr lang="en-US" dirty="0"/>
              <a:t>, </a:t>
            </a:r>
            <a:r>
              <a:rPr lang="en-US" dirty="0" err="1"/>
              <a:t>neque</a:t>
            </a:r>
            <a:r>
              <a:rPr lang="en-US" dirty="0"/>
              <a:t> </a:t>
            </a:r>
            <a:r>
              <a:rPr lang="en-US" dirty="0" err="1"/>
              <a:t>metus</a:t>
            </a:r>
            <a:r>
              <a:rPr lang="en-US" dirty="0"/>
              <a:t> </a:t>
            </a:r>
            <a:r>
              <a:rPr lang="en-US" dirty="0" err="1"/>
              <a:t>sociisetur</a:t>
            </a:r>
            <a:r>
              <a:rPr lang="en-US" dirty="0"/>
              <a:t> </a:t>
            </a:r>
            <a:r>
              <a:rPr lang="en-US" dirty="0" err="1"/>
              <a:t>facilisis</a:t>
            </a:r>
            <a:r>
              <a:rPr lang="en-US" dirty="0"/>
              <a:t> </a:t>
            </a:r>
            <a:r>
              <a:rPr lang="en-US" dirty="0" err="1"/>
              <a:t>sagittis</a:t>
            </a:r>
            <a:r>
              <a:rPr lang="en-US" dirty="0"/>
              <a:t> </a:t>
            </a:r>
            <a:r>
              <a:rPr lang="en-US" dirty="0" err="1"/>
              <a:t>tincidunt</a:t>
            </a:r>
            <a:r>
              <a:rPr lang="en-US" dirty="0"/>
              <a:t>.</a:t>
            </a:r>
          </a:p>
          <a:p>
            <a:pPr lvl="0"/>
            <a:endParaRPr lang="en-US" dirty="0"/>
          </a:p>
        </p:txBody>
      </p:sp>
      <p:sp>
        <p:nvSpPr>
          <p:cNvPr id="10" name="Title Placeholder 1">
            <a:extLst>
              <a:ext uri="{FF2B5EF4-FFF2-40B4-BE49-F238E27FC236}">
                <a16:creationId xmlns:a16="http://schemas.microsoft.com/office/drawing/2014/main" id="{41216854-1C40-AB45-B3F9-42955343A98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dirty="0"/>
              <a:t>Your headline goes here when you’re ready</a:t>
            </a:r>
          </a:p>
        </p:txBody>
      </p:sp>
    </p:spTree>
    <p:extLst>
      <p:ext uri="{BB962C8B-B14F-4D97-AF65-F5344CB8AC3E}">
        <p14:creationId xmlns:p14="http://schemas.microsoft.com/office/powerpoint/2010/main" val="180581399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head: No Content - Color Background">
    <p:bg>
      <p:bgPr>
        <a:solidFill>
          <a:schemeClr val="accent3"/>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Your headline goes here when you’re ready</a:t>
            </a:r>
          </a:p>
        </p:txBody>
      </p:sp>
      <p:sp>
        <p:nvSpPr>
          <p:cNvPr id="4" name="Text Placeholder 7">
            <a:extLst>
              <a:ext uri="{FF2B5EF4-FFF2-40B4-BE49-F238E27FC236}">
                <a16:creationId xmlns:a16="http://schemas.microsoft.com/office/drawing/2014/main" id="{75CCA8EF-51DF-7447-8214-FAAB0EA296A0}"/>
              </a:ext>
            </a:extLst>
          </p:cNvPr>
          <p:cNvSpPr>
            <a:spLocks noGrp="1"/>
          </p:cNvSpPr>
          <p:nvPr>
            <p:ph type="body" sz="quarter" idx="14"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a:t>
            </a:r>
          </a:p>
        </p:txBody>
      </p:sp>
    </p:spTree>
    <p:extLst>
      <p:ext uri="{BB962C8B-B14F-4D97-AF65-F5344CB8AC3E}">
        <p14:creationId xmlns:p14="http://schemas.microsoft.com/office/powerpoint/2010/main" val="2607464494"/>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Sidebar - Story Messaging">
    <p:bg>
      <p:bgPr>
        <a:solidFill>
          <a:schemeClr val="tx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855D5F5-02BE-E44E-B9D9-EAA4F0B38AF2}"/>
              </a:ext>
            </a:extLst>
          </p:cNvPr>
          <p:cNvSpPr>
            <a:spLocks noGrp="1"/>
          </p:cNvSpPr>
          <p:nvPr>
            <p:ph type="pic" sz="quarter" idx="16" hasCustomPrompt="1"/>
          </p:nvPr>
        </p:nvSpPr>
        <p:spPr>
          <a:xfrm>
            <a:off x="0" y="0"/>
            <a:ext cx="4941888" cy="6858000"/>
          </a:xfrm>
        </p:spPr>
        <p:txBody>
          <a:bodyPr vert="horz" anchor="ctr" anchorCtr="0"/>
          <a:lstStyle>
            <a:lvl1pPr algn="ctr">
              <a:defRPr>
                <a:solidFill>
                  <a:schemeClr val="bg1"/>
                </a:solidFill>
              </a:defRPr>
            </a:lvl1pPr>
          </a:lstStyle>
          <a:p>
            <a:r>
              <a:rPr lang="en-US" dirty="0"/>
              <a:t>Click to insert accent graphic or photo</a:t>
            </a:r>
          </a:p>
        </p:txBody>
      </p:sp>
      <p:sp>
        <p:nvSpPr>
          <p:cNvPr id="4" name="Text Placeholder 3">
            <a:extLst>
              <a:ext uri="{FF2B5EF4-FFF2-40B4-BE49-F238E27FC236}">
                <a16:creationId xmlns:a16="http://schemas.microsoft.com/office/drawing/2014/main" id="{4ABAB6B2-829B-074B-A309-B3978A8AE2F8}"/>
              </a:ext>
            </a:extLst>
          </p:cNvPr>
          <p:cNvSpPr>
            <a:spLocks noGrp="1"/>
          </p:cNvSpPr>
          <p:nvPr>
            <p:ph type="body" sz="quarter" idx="15" hasCustomPrompt="1"/>
          </p:nvPr>
        </p:nvSpPr>
        <p:spPr>
          <a:xfrm>
            <a:off x="6019800" y="819150"/>
            <a:ext cx="5219700" cy="4870450"/>
          </a:xfrm>
        </p:spPr>
        <p:txBody>
          <a:bodyPr numCol="2" spcCol="457200">
            <a:noAutofit/>
          </a:bodyPr>
          <a:lstStyle>
            <a:lvl1pPr marL="0" marR="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sz="1000">
                <a:solidFill>
                  <a:schemeClr val="bg1"/>
                </a:solidFill>
              </a:defRPr>
            </a:lvl1pPr>
          </a:lstStyle>
          <a:p>
            <a:pPr lvl="0"/>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endParaRPr lang="en-US" dirty="0"/>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r>
              <a:rPr lang="en-US" dirty="0"/>
              <a:t> </a:t>
            </a:r>
            <a:r>
              <a:rPr lang="en-US" dirty="0" err="1"/>
              <a:t>est</a:t>
            </a:r>
            <a:r>
              <a:rPr lang="en-US" dirty="0"/>
              <a:t> ad.</a:t>
            </a:r>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patent</a:t>
            </a:r>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dirty="0"/>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endParaRPr lang="en-US" dirty="0"/>
          </a:p>
          <a:p>
            <a:pPr lvl="0"/>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endParaRPr lang="en-US" dirty="0"/>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endParaRPr lang="en-US" dirty="0"/>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dirty="0"/>
          </a:p>
          <a:p>
            <a:pPr lvl="0"/>
            <a:endParaRPr lang="en-US" dirty="0"/>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dirty="0"/>
          </a:p>
          <a:p>
            <a:pPr lvl="0"/>
            <a:endParaRPr lang="en-US" dirty="0"/>
          </a:p>
        </p:txBody>
      </p:sp>
    </p:spTree>
    <p:extLst>
      <p:ext uri="{BB962C8B-B14F-4D97-AF65-F5344CB8AC3E}">
        <p14:creationId xmlns:p14="http://schemas.microsoft.com/office/powerpoint/2010/main" val="1356483769"/>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head: No Content - Breadcrumb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B3FE79D3-B21C-A940-9413-05C2C3557EB3}"/>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dirty="0"/>
              <a:t>Click to edit title</a:t>
            </a:r>
          </a:p>
        </p:txBody>
      </p:sp>
      <p:sp>
        <p:nvSpPr>
          <p:cNvPr id="7" name="Text Placeholder 7">
            <a:extLst>
              <a:ext uri="{FF2B5EF4-FFF2-40B4-BE49-F238E27FC236}">
                <a16:creationId xmlns:a16="http://schemas.microsoft.com/office/drawing/2014/main" id="{21B08B97-243B-5443-A860-23EDD9E8F98C}"/>
              </a:ext>
            </a:extLst>
          </p:cNvPr>
          <p:cNvSpPr>
            <a:spLocks noGrp="1"/>
          </p:cNvSpPr>
          <p:nvPr>
            <p:ph type="body" sz="quarter" idx="14" hasCustomPrompt="1"/>
          </p:nvPr>
        </p:nvSpPr>
        <p:spPr>
          <a:xfrm>
            <a:off x="914399" y="1724535"/>
            <a:ext cx="10325099"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3628074066"/>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head: 3 Column - Breadcrumbs">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D1FA0000-C94E-E149-9623-BD66BFB0643F}"/>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dirty="0"/>
              <a:t>Click to edit title</a:t>
            </a:r>
          </a:p>
        </p:txBody>
      </p:sp>
      <p:sp>
        <p:nvSpPr>
          <p:cNvPr id="13" name="Text Placeholder 7">
            <a:extLst>
              <a:ext uri="{FF2B5EF4-FFF2-40B4-BE49-F238E27FC236}">
                <a16:creationId xmlns:a16="http://schemas.microsoft.com/office/drawing/2014/main" id="{A8B5101F-02F4-F644-B829-A903E6C5AF82}"/>
              </a:ext>
            </a:extLst>
          </p:cNvPr>
          <p:cNvSpPr>
            <a:spLocks noGrp="1"/>
          </p:cNvSpPr>
          <p:nvPr>
            <p:ph type="body" sz="quarter" idx="17"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9" name="Text Placeholder 2">
            <a:extLst>
              <a:ext uri="{FF2B5EF4-FFF2-40B4-BE49-F238E27FC236}">
                <a16:creationId xmlns:a16="http://schemas.microsoft.com/office/drawing/2014/main" id="{52D92F5C-FA62-6744-8F61-4466D334BE9E}"/>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
        <p:nvSpPr>
          <p:cNvPr id="11" name="Text Placeholder 10">
            <a:extLst>
              <a:ext uri="{FF2B5EF4-FFF2-40B4-BE49-F238E27FC236}">
                <a16:creationId xmlns:a16="http://schemas.microsoft.com/office/drawing/2014/main" id="{0E4A3D3C-19EC-3C4B-B4B7-1A480F8D1B04}"/>
              </a:ext>
            </a:extLst>
          </p:cNvPr>
          <p:cNvSpPr>
            <a:spLocks noGrp="1"/>
          </p:cNvSpPr>
          <p:nvPr>
            <p:ph type="body" sz="quarter" idx="14" hasCustomPrompt="1"/>
          </p:nvPr>
        </p:nvSpPr>
        <p:spPr>
          <a:xfrm>
            <a:off x="914399"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10">
            <a:extLst>
              <a:ext uri="{FF2B5EF4-FFF2-40B4-BE49-F238E27FC236}">
                <a16:creationId xmlns:a16="http://schemas.microsoft.com/office/drawing/2014/main" id="{EFEED5D6-573D-404A-8CCC-737D659E78E0}"/>
              </a:ext>
            </a:extLst>
          </p:cNvPr>
          <p:cNvSpPr>
            <a:spLocks noGrp="1"/>
          </p:cNvSpPr>
          <p:nvPr>
            <p:ph type="body" sz="quarter" idx="18" hasCustomPrompt="1"/>
          </p:nvPr>
        </p:nvSpPr>
        <p:spPr>
          <a:xfrm>
            <a:off x="914399"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Text Placeholder 10">
            <a:extLst>
              <a:ext uri="{FF2B5EF4-FFF2-40B4-BE49-F238E27FC236}">
                <a16:creationId xmlns:a16="http://schemas.microsoft.com/office/drawing/2014/main" id="{051170D1-9AC7-AF40-B2F1-FD9FF7421F23}"/>
              </a:ext>
            </a:extLst>
          </p:cNvPr>
          <p:cNvSpPr>
            <a:spLocks noGrp="1"/>
          </p:cNvSpPr>
          <p:nvPr>
            <p:ph type="body" sz="quarter" idx="19" hasCustomPrompt="1"/>
          </p:nvPr>
        </p:nvSpPr>
        <p:spPr>
          <a:xfrm>
            <a:off x="4481284"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10">
            <a:extLst>
              <a:ext uri="{FF2B5EF4-FFF2-40B4-BE49-F238E27FC236}">
                <a16:creationId xmlns:a16="http://schemas.microsoft.com/office/drawing/2014/main" id="{E694E8FB-E315-1E42-802D-0BCB6DC4A71B}"/>
              </a:ext>
            </a:extLst>
          </p:cNvPr>
          <p:cNvSpPr>
            <a:spLocks noGrp="1"/>
          </p:cNvSpPr>
          <p:nvPr>
            <p:ph type="body" sz="quarter" idx="20" hasCustomPrompt="1"/>
          </p:nvPr>
        </p:nvSpPr>
        <p:spPr>
          <a:xfrm>
            <a:off x="4481284"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10">
            <a:extLst>
              <a:ext uri="{FF2B5EF4-FFF2-40B4-BE49-F238E27FC236}">
                <a16:creationId xmlns:a16="http://schemas.microsoft.com/office/drawing/2014/main" id="{CD02155D-3CCC-8F41-A272-6A3A07492B19}"/>
              </a:ext>
            </a:extLst>
          </p:cNvPr>
          <p:cNvSpPr>
            <a:spLocks noGrp="1"/>
          </p:cNvSpPr>
          <p:nvPr>
            <p:ph type="body" sz="quarter" idx="21" hasCustomPrompt="1"/>
          </p:nvPr>
        </p:nvSpPr>
        <p:spPr>
          <a:xfrm>
            <a:off x="8048170"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Text Placeholder 10">
            <a:extLst>
              <a:ext uri="{FF2B5EF4-FFF2-40B4-BE49-F238E27FC236}">
                <a16:creationId xmlns:a16="http://schemas.microsoft.com/office/drawing/2014/main" id="{AED765FC-4485-E94D-A050-1A483A01E1CB}"/>
              </a:ext>
            </a:extLst>
          </p:cNvPr>
          <p:cNvSpPr>
            <a:spLocks noGrp="1"/>
          </p:cNvSpPr>
          <p:nvPr>
            <p:ph type="body" sz="quarter" idx="22" hasCustomPrompt="1"/>
          </p:nvPr>
        </p:nvSpPr>
        <p:spPr>
          <a:xfrm>
            <a:off x="8048170"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67462532"/>
      </p:ext>
    </p:extLst>
  </p:cSld>
  <p:clrMapOvr>
    <a:masterClrMapping/>
  </p:clrMapOvr>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ransform - Divider - Illustration -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E88F635-88EC-AC45-8A6D-C7522936F1C5}"/>
              </a:ext>
            </a:extLst>
          </p:cNvPr>
          <p:cNvSpPr>
            <a:spLocks noGrp="1"/>
          </p:cNvSpPr>
          <p:nvPr>
            <p:ph type="pic" sz="quarter" idx="12" hasCustomPrompt="1"/>
          </p:nvPr>
        </p:nvSpPr>
        <p:spPr>
          <a:xfrm>
            <a:off x="0" y="0"/>
            <a:ext cx="12192000" cy="6858000"/>
          </a:xfrm>
        </p:spPr>
        <p:txBody>
          <a:bodyPr rIns="274320" anchor="ctr"/>
          <a:lstStyle>
            <a:lvl1pPr algn="r">
              <a:defRPr/>
            </a:lvl1pPr>
          </a:lstStyle>
          <a:p>
            <a:r>
              <a:rPr lang="en-US" dirty="0"/>
              <a:t>Click, drag and drop, or paste in your full-bleed background image here. </a:t>
            </a:r>
            <a:br>
              <a:rPr lang="en-US" dirty="0"/>
            </a:br>
            <a:r>
              <a:rPr lang="en-US" dirty="0"/>
              <a:t>When done, right-click and “Send to back”</a:t>
            </a:r>
          </a:p>
        </p:txBody>
      </p:sp>
      <p:sp>
        <p:nvSpPr>
          <p:cNvPr id="6" name="Text Placeholder 6">
            <a:extLst>
              <a:ext uri="{FF2B5EF4-FFF2-40B4-BE49-F238E27FC236}">
                <a16:creationId xmlns:a16="http://schemas.microsoft.com/office/drawing/2014/main" id="{2A6E09FB-1A71-F84B-B021-2D8BFF84CC4A}"/>
              </a:ext>
            </a:extLst>
          </p:cNvPr>
          <p:cNvSpPr>
            <a:spLocks noGrp="1"/>
          </p:cNvSpPr>
          <p:nvPr>
            <p:ph type="body" sz="quarter" idx="11" hasCustomPrompt="1"/>
          </p:nvPr>
        </p:nvSpPr>
        <p:spPr>
          <a:xfrm>
            <a:off x="-1" y="3342200"/>
            <a:ext cx="4622801" cy="1846659"/>
          </a:xfrm>
          <a:prstGeom prst="rect">
            <a:avLst/>
          </a:prstGeom>
          <a:solidFill>
            <a:schemeClr val="bg1"/>
          </a:solidFill>
        </p:spPr>
        <p:txBody>
          <a:bodyPr lIns="914400" tIns="274320" rIns="274320" bIns="274320" anchor="ctr" anchorCtr="0">
            <a:spAutoFit/>
          </a:bodyPr>
          <a:lstStyle>
            <a:lvl1pPr marL="0" indent="0">
              <a:lnSpc>
                <a:spcPct val="100000"/>
              </a:lnSpc>
              <a:buFontTx/>
              <a:buNone/>
              <a:defRPr sz="28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Divider slide title goes here when needed.</a:t>
            </a:r>
          </a:p>
        </p:txBody>
      </p:sp>
    </p:spTree>
    <p:extLst>
      <p:ext uri="{BB962C8B-B14F-4D97-AF65-F5344CB8AC3E}">
        <p14:creationId xmlns:p14="http://schemas.microsoft.com/office/powerpoint/2010/main" val="2512956581"/>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head: 3 Column with Footer - Breadcrumb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B08EE29-A03A-C342-B34E-CB43983D5274}"/>
              </a:ext>
            </a:extLst>
          </p:cNvPr>
          <p:cNvCxnSpPr>
            <a:cxnSpLocks/>
          </p:cNvCxnSpPr>
          <p:nvPr userDrawn="1"/>
        </p:nvCxnSpPr>
        <p:spPr>
          <a:xfrm>
            <a:off x="912813" y="5723425"/>
            <a:ext cx="10326687" cy="0"/>
          </a:xfrm>
          <a:prstGeom prst="line">
            <a:avLst/>
          </a:prstGeom>
          <a:noFill/>
          <a:ln w="3175" cap="flat" cmpd="sng" algn="ctr">
            <a:solidFill>
              <a:sysClr val="windowText" lastClr="000000">
                <a:alpha val="50000"/>
              </a:sysClr>
            </a:solidFill>
            <a:prstDash val="solid"/>
            <a:miter lim="800000"/>
          </a:ln>
          <a:effectLst/>
        </p:spPr>
      </p:cxnSp>
      <p:sp>
        <p:nvSpPr>
          <p:cNvPr id="16" name="Text Placeholder 3">
            <a:extLst>
              <a:ext uri="{FF2B5EF4-FFF2-40B4-BE49-F238E27FC236}">
                <a16:creationId xmlns:a16="http://schemas.microsoft.com/office/drawing/2014/main" id="{E0AE33A8-E39A-FD46-B895-D32DF4211B6B}"/>
              </a:ext>
            </a:extLst>
          </p:cNvPr>
          <p:cNvSpPr>
            <a:spLocks noGrp="1"/>
          </p:cNvSpPr>
          <p:nvPr>
            <p:ph type="body" sz="quarter" idx="14" hasCustomPrompt="1"/>
          </p:nvPr>
        </p:nvSpPr>
        <p:spPr>
          <a:xfrm>
            <a:off x="3543300" y="5902960"/>
            <a:ext cx="3505200" cy="15478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FACILISIS INTEGER FERMENTUM VEHICULA</a:t>
            </a:r>
          </a:p>
        </p:txBody>
      </p:sp>
      <p:sp>
        <p:nvSpPr>
          <p:cNvPr id="17" name="Text Placeholder 3">
            <a:extLst>
              <a:ext uri="{FF2B5EF4-FFF2-40B4-BE49-F238E27FC236}">
                <a16:creationId xmlns:a16="http://schemas.microsoft.com/office/drawing/2014/main" id="{D3E5CCD4-8DCA-214B-9897-C585BCBD2CD6}"/>
              </a:ext>
            </a:extLst>
          </p:cNvPr>
          <p:cNvSpPr>
            <a:spLocks noGrp="1"/>
          </p:cNvSpPr>
          <p:nvPr>
            <p:ph type="body" sz="quarter" idx="15" hasCustomPrompt="1"/>
          </p:nvPr>
        </p:nvSpPr>
        <p:spPr>
          <a:xfrm>
            <a:off x="7583037"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IVERRA DOLOR</a:t>
            </a:r>
          </a:p>
        </p:txBody>
      </p:sp>
      <p:sp>
        <p:nvSpPr>
          <p:cNvPr id="18" name="Text Placeholder 3">
            <a:extLst>
              <a:ext uri="{FF2B5EF4-FFF2-40B4-BE49-F238E27FC236}">
                <a16:creationId xmlns:a16="http://schemas.microsoft.com/office/drawing/2014/main" id="{2F26D0B5-E351-E443-8784-69AE61A3E06B}"/>
              </a:ext>
            </a:extLst>
          </p:cNvPr>
          <p:cNvSpPr>
            <a:spLocks noGrp="1"/>
          </p:cNvSpPr>
          <p:nvPr>
            <p:ph type="body" sz="quarter" idx="16" hasCustomPrompt="1"/>
          </p:nvPr>
        </p:nvSpPr>
        <p:spPr>
          <a:xfrm>
            <a:off x="9601200"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LATEA CURSUS PER </a:t>
            </a:r>
          </a:p>
        </p:txBody>
      </p:sp>
      <p:sp>
        <p:nvSpPr>
          <p:cNvPr id="19" name="Text Placeholder 3">
            <a:extLst>
              <a:ext uri="{FF2B5EF4-FFF2-40B4-BE49-F238E27FC236}">
                <a16:creationId xmlns:a16="http://schemas.microsoft.com/office/drawing/2014/main" id="{417B82C3-24AC-F94D-A2B5-A76BFDDA4050}"/>
              </a:ext>
            </a:extLst>
          </p:cNvPr>
          <p:cNvSpPr>
            <a:spLocks noGrp="1"/>
          </p:cNvSpPr>
          <p:nvPr>
            <p:ph type="body" sz="quarter" idx="13" hasCustomPrompt="1"/>
          </p:nvPr>
        </p:nvSpPr>
        <p:spPr>
          <a:xfrm>
            <a:off x="914400" y="590327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IGULA JUSTO PORTTITOR</a:t>
            </a:r>
          </a:p>
        </p:txBody>
      </p:sp>
      <p:sp>
        <p:nvSpPr>
          <p:cNvPr id="21" name="Title Placeholder 1">
            <a:extLst>
              <a:ext uri="{FF2B5EF4-FFF2-40B4-BE49-F238E27FC236}">
                <a16:creationId xmlns:a16="http://schemas.microsoft.com/office/drawing/2014/main" id="{587A59F8-B5A7-7543-BCD3-6D3B96423664}"/>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dirty="0"/>
              <a:t>Click to edit title</a:t>
            </a:r>
          </a:p>
        </p:txBody>
      </p:sp>
      <p:sp>
        <p:nvSpPr>
          <p:cNvPr id="13" name="Text Placeholder 2">
            <a:extLst>
              <a:ext uri="{FF2B5EF4-FFF2-40B4-BE49-F238E27FC236}">
                <a16:creationId xmlns:a16="http://schemas.microsoft.com/office/drawing/2014/main" id="{B347E46B-5FB5-1E4E-998B-F91978B9DA63}"/>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
        <p:nvSpPr>
          <p:cNvPr id="22" name="Text Placeholder 10">
            <a:extLst>
              <a:ext uri="{FF2B5EF4-FFF2-40B4-BE49-F238E27FC236}">
                <a16:creationId xmlns:a16="http://schemas.microsoft.com/office/drawing/2014/main" id="{152B3E3F-818B-904F-B592-F5B342104616}"/>
              </a:ext>
            </a:extLst>
          </p:cNvPr>
          <p:cNvSpPr>
            <a:spLocks noGrp="1"/>
          </p:cNvSpPr>
          <p:nvPr>
            <p:ph type="body" sz="quarter" idx="27" hasCustomPrompt="1"/>
          </p:nvPr>
        </p:nvSpPr>
        <p:spPr>
          <a:xfrm>
            <a:off x="914399" y="2159025"/>
            <a:ext cx="3198133" cy="1591205"/>
          </a:xfrm>
          <a:prstGeom prst="rect">
            <a:avLst/>
          </a:prstGeom>
        </p:spPr>
        <p:txBody>
          <a:bodyPr anchor="t">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ext Placeholder 10">
            <a:extLst>
              <a:ext uri="{FF2B5EF4-FFF2-40B4-BE49-F238E27FC236}">
                <a16:creationId xmlns:a16="http://schemas.microsoft.com/office/drawing/2014/main" id="{78B9C2FF-CA79-8D4E-8046-24E19F06DCAB}"/>
              </a:ext>
            </a:extLst>
          </p:cNvPr>
          <p:cNvSpPr>
            <a:spLocks noGrp="1"/>
          </p:cNvSpPr>
          <p:nvPr>
            <p:ph type="body" sz="quarter" idx="19" hasCustomPrompt="1"/>
          </p:nvPr>
        </p:nvSpPr>
        <p:spPr>
          <a:xfrm>
            <a:off x="4481284" y="2159025"/>
            <a:ext cx="3198133" cy="1591205"/>
          </a:xfrm>
          <a:prstGeom prst="rect">
            <a:avLst/>
          </a:prstGeom>
        </p:spPr>
        <p:txBody>
          <a:bodyPr anchor="t">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Text Placeholder 10">
            <a:extLst>
              <a:ext uri="{FF2B5EF4-FFF2-40B4-BE49-F238E27FC236}">
                <a16:creationId xmlns:a16="http://schemas.microsoft.com/office/drawing/2014/main" id="{911A91DD-0EB8-C544-86BC-7B8E7A321A7B}"/>
              </a:ext>
            </a:extLst>
          </p:cNvPr>
          <p:cNvSpPr>
            <a:spLocks noGrp="1"/>
          </p:cNvSpPr>
          <p:nvPr>
            <p:ph type="body" sz="quarter" idx="21" hasCustomPrompt="1"/>
          </p:nvPr>
        </p:nvSpPr>
        <p:spPr>
          <a:xfrm>
            <a:off x="8048170" y="2159025"/>
            <a:ext cx="3198133" cy="1591205"/>
          </a:xfrm>
          <a:prstGeom prst="rect">
            <a:avLst/>
          </a:prstGeom>
        </p:spPr>
        <p:txBody>
          <a:bodyPr anchor="t">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689708"/>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head: Sidebar - Breadcrumbs">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D47AA8BC-97B4-9546-8437-2BA0125816DC}"/>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9" name="Text Placeholder 2">
            <a:extLst>
              <a:ext uri="{FF2B5EF4-FFF2-40B4-BE49-F238E27FC236}">
                <a16:creationId xmlns:a16="http://schemas.microsoft.com/office/drawing/2014/main" id="{64C0E923-38EC-6B4C-9487-769D320A2EF9}"/>
              </a:ext>
            </a:extLst>
          </p:cNvPr>
          <p:cNvSpPr>
            <a:spLocks noGrp="1"/>
          </p:cNvSpPr>
          <p:nvPr>
            <p:ph type="body" sz="quarter" idx="18"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Open Sans Light"/>
                <a:ea typeface="+mj-ea"/>
                <a:cs typeface="Calibri Light" panose="020F0302020204030204" pitchFamily="34" charset="0"/>
              </a:rPr>
              <a:t>Click to edit title</a:t>
            </a:r>
            <a:endParaRPr kumimoji="0" lang="en-AU"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 Placeholder 2">
            <a:extLst>
              <a:ext uri="{FF2B5EF4-FFF2-40B4-BE49-F238E27FC236}">
                <a16:creationId xmlns:a16="http://schemas.microsoft.com/office/drawing/2014/main" id="{8E758312-4D83-4444-B139-72CC9248FD46}"/>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147317375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 Breadcrumbs">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D9F71E33-BA0E-A541-A2DC-FD42A43A6FC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a:t>
            </a:r>
            <a:r>
              <a:rPr lang="en-US" dirty="0"/>
              <a:t>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a:t>
            </a:r>
          </a:p>
        </p:txBody>
      </p:sp>
      <p:sp>
        <p:nvSpPr>
          <p:cNvPr id="15" name="Text Placeholder 9">
            <a:extLst>
              <a:ext uri="{FF2B5EF4-FFF2-40B4-BE49-F238E27FC236}">
                <a16:creationId xmlns:a16="http://schemas.microsoft.com/office/drawing/2014/main" id="{4BB17C82-293E-A545-98BE-F49322DB0411}"/>
              </a:ext>
            </a:extLst>
          </p:cNvPr>
          <p:cNvSpPr>
            <a:spLocks noGrp="1"/>
          </p:cNvSpPr>
          <p:nvPr>
            <p:ph type="body" sz="quarter" idx="20" hasCustomPrompt="1"/>
          </p:nvPr>
        </p:nvSpPr>
        <p:spPr>
          <a:xfrm>
            <a:off x="4958603" y="3656853"/>
            <a:ext cx="62865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dirty="0" err="1"/>
              <a:t>Conubia</a:t>
            </a:r>
            <a:r>
              <a:rPr lang="en-US" dirty="0"/>
              <a:t> </a:t>
            </a:r>
            <a:r>
              <a:rPr lang="en-US" dirty="0" err="1"/>
              <a:t>aptent</a:t>
            </a:r>
            <a:r>
              <a:rPr lang="en-US" dirty="0"/>
              <a:t> </a:t>
            </a:r>
            <a:r>
              <a:rPr lang="en-US" dirty="0" err="1"/>
              <a:t>primis</a:t>
            </a:r>
            <a:endParaRPr lang="en-US" dirty="0"/>
          </a:p>
          <a:p>
            <a:pPr lvl="0"/>
            <a:r>
              <a:rPr lang="en-US" dirty="0"/>
              <a:t>Libero </a:t>
            </a:r>
            <a:r>
              <a:rPr lang="en-US" dirty="0" err="1"/>
              <a:t>pellentesque</a:t>
            </a:r>
            <a:r>
              <a:rPr lang="en-US" dirty="0"/>
              <a:t> </a:t>
            </a:r>
            <a:r>
              <a:rPr lang="en-US" dirty="0" err="1"/>
              <a:t>nunc</a:t>
            </a:r>
            <a:r>
              <a:rPr lang="en-US" dirty="0"/>
              <a:t> fames </a:t>
            </a:r>
            <a:r>
              <a:rPr lang="en-US" dirty="0" err="1"/>
              <a:t>penatibus</a:t>
            </a:r>
            <a:r>
              <a:rPr lang="en-US" dirty="0"/>
              <a:t> </a:t>
            </a:r>
            <a:r>
              <a:rPr lang="en-US" dirty="0" err="1"/>
              <a:t>accumsan</a:t>
            </a:r>
            <a:r>
              <a:rPr lang="en-US" dirty="0"/>
              <a:t> </a:t>
            </a:r>
            <a:r>
              <a:rPr lang="en-US" dirty="0" err="1"/>
              <a:t>hendrerit</a:t>
            </a:r>
            <a:r>
              <a:rPr lang="en-US" dirty="0"/>
              <a:t> diam </a:t>
            </a:r>
            <a:r>
              <a:rPr lang="en-US" dirty="0" err="1"/>
              <a:t>platea</a:t>
            </a:r>
            <a:r>
              <a:rPr lang="en-US" dirty="0"/>
              <a:t>, </a:t>
            </a:r>
            <a:r>
              <a:rPr lang="en-US" dirty="0" err="1"/>
              <a:t>himenaeos</a:t>
            </a:r>
            <a:r>
              <a:rPr lang="en-US" dirty="0"/>
              <a:t> </a:t>
            </a:r>
            <a:r>
              <a:rPr lang="en-US" dirty="0" err="1"/>
              <a:t>scelerisque</a:t>
            </a:r>
            <a:r>
              <a:rPr lang="en-US" dirty="0"/>
              <a:t> eros </a:t>
            </a:r>
            <a:r>
              <a:rPr lang="en-US" dirty="0" err="1"/>
              <a:t>congue</a:t>
            </a:r>
            <a:r>
              <a:rPr lang="en-US" dirty="0"/>
              <a:t> vestibulum ipsum </a:t>
            </a:r>
            <a:r>
              <a:rPr lang="en-US" dirty="0" err="1"/>
              <a:t>adipiscin</a:t>
            </a:r>
            <a:r>
              <a:rPr lang="en-US" dirty="0"/>
              <a:t> </a:t>
            </a:r>
            <a:r>
              <a:rPr lang="en-US" dirty="0" err="1"/>
              <a:t>adipiscing</a:t>
            </a:r>
            <a:r>
              <a:rPr lang="en-US" dirty="0"/>
              <a:t> ligula </a:t>
            </a:r>
            <a:r>
              <a:rPr lang="en-US" dirty="0" err="1"/>
              <a:t>odio</a:t>
            </a:r>
            <a:r>
              <a:rPr lang="en-US" dirty="0"/>
              <a:t> </a:t>
            </a:r>
            <a:r>
              <a:rPr lang="en-US" dirty="0" err="1"/>
              <a:t>adipiscing</a:t>
            </a:r>
            <a:r>
              <a:rPr lang="en-US" dirty="0"/>
              <a:t> ligula </a:t>
            </a:r>
            <a:r>
              <a:rPr lang="en-US" dirty="0" err="1"/>
              <a:t>odio</a:t>
            </a:r>
            <a:r>
              <a:rPr lang="en-US" dirty="0"/>
              <a:t> g ligula </a:t>
            </a:r>
            <a:r>
              <a:rPr lang="en-US" dirty="0" err="1"/>
              <a:t>odio</a:t>
            </a:r>
            <a:r>
              <a:rPr lang="en-US" dirty="0"/>
              <a:t>, </a:t>
            </a:r>
            <a:r>
              <a:rPr lang="en-US" dirty="0" err="1"/>
              <a:t>neque</a:t>
            </a:r>
            <a:r>
              <a:rPr lang="en-US" dirty="0"/>
              <a:t> </a:t>
            </a:r>
            <a:r>
              <a:rPr lang="en-US" dirty="0" err="1"/>
              <a:t>metus</a:t>
            </a:r>
            <a:r>
              <a:rPr lang="en-US" dirty="0"/>
              <a:t> </a:t>
            </a:r>
            <a:r>
              <a:rPr lang="en-US" dirty="0" err="1"/>
              <a:t>sociisetur</a:t>
            </a:r>
            <a:r>
              <a:rPr lang="en-US" dirty="0"/>
              <a:t> </a:t>
            </a:r>
            <a:r>
              <a:rPr lang="en-US" dirty="0" err="1"/>
              <a:t>facilisis</a:t>
            </a:r>
            <a:r>
              <a:rPr lang="en-US" dirty="0"/>
              <a:t> </a:t>
            </a:r>
            <a:r>
              <a:rPr lang="en-US" dirty="0" err="1"/>
              <a:t>sagittis</a:t>
            </a:r>
            <a:r>
              <a:rPr lang="en-US" dirty="0"/>
              <a:t> </a:t>
            </a:r>
            <a:r>
              <a:rPr lang="en-US" dirty="0" err="1"/>
              <a:t>tincidunt</a:t>
            </a:r>
            <a:r>
              <a:rPr lang="en-US" dirty="0"/>
              <a:t>.</a:t>
            </a:r>
          </a:p>
          <a:p>
            <a:pPr lvl="0"/>
            <a:endParaRPr lang="en-US" dirty="0"/>
          </a:p>
          <a:p>
            <a:pPr lvl="0"/>
            <a:r>
              <a:rPr lang="en-US" dirty="0" err="1"/>
              <a:t>Quisque</a:t>
            </a:r>
            <a:r>
              <a:rPr lang="en-US" dirty="0"/>
              <a:t> </a:t>
            </a:r>
            <a:r>
              <a:rPr lang="en-US" dirty="0" err="1"/>
              <a:t>laoreet</a:t>
            </a:r>
            <a:endParaRPr lang="en-US" dirty="0"/>
          </a:p>
          <a:p>
            <a:pPr lvl="0"/>
            <a:r>
              <a:rPr lang="en-US" dirty="0" err="1"/>
              <a:t>Viverra</a:t>
            </a:r>
            <a:r>
              <a:rPr lang="en-US" dirty="0"/>
              <a:t> dolor eros semper </a:t>
            </a:r>
            <a:r>
              <a:rPr lang="en-US" dirty="0" err="1"/>
              <a:t>sociosqu</a:t>
            </a:r>
            <a:r>
              <a:rPr lang="en-US" dirty="0"/>
              <a:t> </a:t>
            </a:r>
            <a:r>
              <a:rPr lang="en-US" dirty="0" err="1"/>
              <a:t>lobortis</a:t>
            </a:r>
            <a:r>
              <a:rPr lang="en-US" dirty="0"/>
              <a:t> </a:t>
            </a:r>
            <a:r>
              <a:rPr lang="en-US" dirty="0" err="1"/>
              <a:t>sodales</a:t>
            </a:r>
            <a:r>
              <a:rPr lang="en-US" dirty="0"/>
              <a:t> </a:t>
            </a:r>
            <a:r>
              <a:rPr lang="en-US" dirty="0" err="1"/>
              <a:t>metus</a:t>
            </a:r>
            <a:r>
              <a:rPr lang="en-US" dirty="0"/>
              <a:t> </a:t>
            </a:r>
            <a:r>
              <a:rPr lang="en-US" dirty="0" err="1"/>
              <a:t>velit</a:t>
            </a:r>
            <a:r>
              <a:rPr lang="en-US" dirty="0"/>
              <a:t>, </a:t>
            </a:r>
            <a:r>
              <a:rPr lang="en-US" dirty="0" err="1"/>
              <a:t>nulla</a:t>
            </a:r>
            <a:r>
              <a:rPr lang="en-US" dirty="0"/>
              <a:t> </a:t>
            </a:r>
            <a:r>
              <a:rPr lang="en-US" dirty="0" err="1"/>
              <a:t>leo</a:t>
            </a:r>
            <a:r>
              <a:rPr lang="en-US" dirty="0"/>
              <a:t> </a:t>
            </a:r>
            <a:r>
              <a:rPr lang="en-US" dirty="0" err="1"/>
              <a:t>turpis</a:t>
            </a:r>
            <a:r>
              <a:rPr lang="en-US" dirty="0"/>
              <a:t> </a:t>
            </a:r>
            <a:r>
              <a:rPr lang="en-US" dirty="0" err="1"/>
              <a:t>enim</a:t>
            </a:r>
            <a:r>
              <a:rPr lang="en-US" dirty="0"/>
              <a:t> </a:t>
            </a:r>
            <a:r>
              <a:rPr lang="en-US" dirty="0" err="1"/>
              <a:t>quis</a:t>
            </a:r>
            <a:r>
              <a:rPr lang="en-US" dirty="0"/>
              <a:t> </a:t>
            </a:r>
            <a:r>
              <a:rPr lang="en-US" dirty="0" err="1"/>
              <a:t>platea</a:t>
            </a:r>
            <a:r>
              <a:rPr lang="en-US" dirty="0"/>
              <a:t> cursus per </a:t>
            </a:r>
            <a:r>
              <a:rPr lang="en-US" dirty="0" err="1"/>
              <a:t>sid</a:t>
            </a:r>
            <a:r>
              <a:rPr lang="en-US" dirty="0"/>
              <a:t> </a:t>
            </a:r>
            <a:r>
              <a:rPr lang="en-US" dirty="0" err="1"/>
              <a:t>risus</a:t>
            </a:r>
            <a:r>
              <a:rPr lang="en-US" dirty="0"/>
              <a:t> auctor </a:t>
            </a:r>
            <a:r>
              <a:rPr lang="en-US" dirty="0" err="1"/>
              <a:t>inceptos</a:t>
            </a:r>
            <a:r>
              <a:rPr lang="en-US" dirty="0"/>
              <a:t> </a:t>
            </a:r>
            <a:r>
              <a:rPr lang="en-US" dirty="0" err="1"/>
              <a:t>nisl</a:t>
            </a:r>
            <a:r>
              <a:rPr lang="en-US" dirty="0"/>
              <a:t>.</a:t>
            </a:r>
          </a:p>
          <a:p>
            <a:pPr lvl="0"/>
            <a:endParaRPr lang="en-US" dirty="0"/>
          </a:p>
          <a:p>
            <a:pPr lvl="0"/>
            <a:r>
              <a:rPr lang="en-US" dirty="0" err="1"/>
              <a:t>Conubia</a:t>
            </a:r>
            <a:r>
              <a:rPr lang="en-US" dirty="0"/>
              <a:t> </a:t>
            </a:r>
            <a:r>
              <a:rPr lang="en-US" dirty="0" err="1"/>
              <a:t>aptent</a:t>
            </a:r>
            <a:r>
              <a:rPr lang="en-US" dirty="0"/>
              <a:t> </a:t>
            </a:r>
            <a:r>
              <a:rPr lang="en-US" dirty="0" err="1"/>
              <a:t>primis</a:t>
            </a:r>
            <a:endParaRPr lang="en-US" dirty="0"/>
          </a:p>
          <a:p>
            <a:pPr lvl="0"/>
            <a:r>
              <a:rPr lang="en-US" dirty="0"/>
              <a:t>Libero </a:t>
            </a:r>
            <a:r>
              <a:rPr lang="en-US" dirty="0" err="1"/>
              <a:t>pellentesque</a:t>
            </a:r>
            <a:r>
              <a:rPr lang="en-US" dirty="0"/>
              <a:t> </a:t>
            </a:r>
            <a:r>
              <a:rPr lang="en-US" dirty="0" err="1"/>
              <a:t>nunc</a:t>
            </a:r>
            <a:r>
              <a:rPr lang="en-US" dirty="0"/>
              <a:t> fames </a:t>
            </a:r>
            <a:r>
              <a:rPr lang="en-US" dirty="0" err="1"/>
              <a:t>penatibus</a:t>
            </a:r>
            <a:r>
              <a:rPr lang="en-US" dirty="0"/>
              <a:t> </a:t>
            </a:r>
            <a:r>
              <a:rPr lang="en-US" dirty="0" err="1"/>
              <a:t>accumsan</a:t>
            </a:r>
            <a:r>
              <a:rPr lang="en-US" dirty="0"/>
              <a:t> h </a:t>
            </a:r>
            <a:r>
              <a:rPr lang="en-US" dirty="0" err="1"/>
              <a:t>adipiscing</a:t>
            </a:r>
            <a:r>
              <a:rPr lang="en-US" dirty="0"/>
              <a:t> ligula </a:t>
            </a:r>
            <a:r>
              <a:rPr lang="en-US" dirty="0" err="1"/>
              <a:t>odio</a:t>
            </a:r>
            <a:r>
              <a:rPr lang="en-US" dirty="0"/>
              <a:t> </a:t>
            </a:r>
            <a:r>
              <a:rPr lang="en-US" dirty="0" err="1"/>
              <a:t>adipiscing</a:t>
            </a:r>
            <a:r>
              <a:rPr lang="en-US" dirty="0"/>
              <a:t> ligula </a:t>
            </a:r>
            <a:r>
              <a:rPr lang="en-US" dirty="0" err="1"/>
              <a:t>odio</a:t>
            </a:r>
            <a:r>
              <a:rPr lang="en-US" dirty="0"/>
              <a:t> </a:t>
            </a:r>
            <a:r>
              <a:rPr lang="en-US" dirty="0" err="1"/>
              <a:t>endrerit</a:t>
            </a:r>
            <a:r>
              <a:rPr lang="en-US" dirty="0"/>
              <a:t> diam </a:t>
            </a:r>
            <a:r>
              <a:rPr lang="en-US" dirty="0" err="1"/>
              <a:t>platea</a:t>
            </a:r>
            <a:r>
              <a:rPr lang="en-US" dirty="0"/>
              <a:t>, </a:t>
            </a:r>
            <a:r>
              <a:rPr lang="en-US" dirty="0" err="1"/>
              <a:t>himenaeos</a:t>
            </a:r>
            <a:r>
              <a:rPr lang="en-US" dirty="0"/>
              <a:t> </a:t>
            </a:r>
            <a:r>
              <a:rPr lang="en-US" dirty="0" err="1"/>
              <a:t>scelerisque</a:t>
            </a:r>
            <a:r>
              <a:rPr lang="en-US" dirty="0"/>
              <a:t> eros </a:t>
            </a:r>
            <a:r>
              <a:rPr lang="en-US" dirty="0" err="1"/>
              <a:t>congue</a:t>
            </a:r>
            <a:r>
              <a:rPr lang="en-US" dirty="0"/>
              <a:t> vestibulum ipsum </a:t>
            </a:r>
            <a:r>
              <a:rPr lang="en-US" dirty="0" err="1"/>
              <a:t>adipiscing</a:t>
            </a:r>
            <a:r>
              <a:rPr lang="en-US" dirty="0"/>
              <a:t> ligula </a:t>
            </a:r>
            <a:r>
              <a:rPr lang="en-US" dirty="0" err="1"/>
              <a:t>odio</a:t>
            </a:r>
            <a:r>
              <a:rPr lang="en-US" dirty="0"/>
              <a:t>, </a:t>
            </a:r>
            <a:r>
              <a:rPr lang="en-US" dirty="0" err="1"/>
              <a:t>neque</a:t>
            </a:r>
            <a:r>
              <a:rPr lang="en-US" dirty="0"/>
              <a:t> </a:t>
            </a:r>
            <a:r>
              <a:rPr lang="en-US" dirty="0" err="1"/>
              <a:t>metus</a:t>
            </a:r>
            <a:r>
              <a:rPr lang="en-US" dirty="0"/>
              <a:t> </a:t>
            </a:r>
            <a:r>
              <a:rPr lang="en-US" dirty="0" err="1"/>
              <a:t>sociisetur</a:t>
            </a:r>
            <a:r>
              <a:rPr lang="en-US" dirty="0"/>
              <a:t> </a:t>
            </a:r>
            <a:r>
              <a:rPr lang="en-US" dirty="0" err="1"/>
              <a:t>facilisis</a:t>
            </a:r>
            <a:r>
              <a:rPr lang="en-US" dirty="0"/>
              <a:t> </a:t>
            </a:r>
            <a:r>
              <a:rPr lang="en-US" dirty="0" err="1"/>
              <a:t>sagittis</a:t>
            </a:r>
            <a:r>
              <a:rPr lang="en-US" dirty="0"/>
              <a:t> </a:t>
            </a:r>
            <a:r>
              <a:rPr lang="en-US" dirty="0" err="1"/>
              <a:t>tincidunt</a:t>
            </a:r>
            <a:r>
              <a:rPr lang="en-US" dirty="0"/>
              <a:t>.</a:t>
            </a:r>
          </a:p>
        </p:txBody>
      </p:sp>
      <p:sp>
        <p:nvSpPr>
          <p:cNvPr id="16" name="Text Placeholder 9">
            <a:extLst>
              <a:ext uri="{FF2B5EF4-FFF2-40B4-BE49-F238E27FC236}">
                <a16:creationId xmlns:a16="http://schemas.microsoft.com/office/drawing/2014/main" id="{DE6D4580-4856-8642-9E92-D7DB0B4D7A61}"/>
              </a:ext>
            </a:extLst>
          </p:cNvPr>
          <p:cNvSpPr>
            <a:spLocks noGrp="1"/>
          </p:cNvSpPr>
          <p:nvPr>
            <p:ph type="body" sz="quarter" idx="18" hasCustomPrompt="1"/>
          </p:nvPr>
        </p:nvSpPr>
        <p:spPr>
          <a:xfrm>
            <a:off x="4953000" y="57822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dirty="0"/>
              <a:t>Ligula </a:t>
            </a:r>
            <a:r>
              <a:rPr lang="en-US" dirty="0" err="1"/>
              <a:t>justo</a:t>
            </a:r>
            <a:r>
              <a:rPr lang="en-US" dirty="0"/>
              <a:t> </a:t>
            </a:r>
            <a:r>
              <a:rPr lang="en-US" dirty="0" err="1"/>
              <a:t>porttitor</a:t>
            </a:r>
            <a:endParaRPr lang="en-US" dirty="0"/>
          </a:p>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urna</a:t>
            </a:r>
            <a:r>
              <a:rPr lang="en-US" dirty="0"/>
              <a:t> </a:t>
            </a:r>
            <a:r>
              <a:rPr lang="en-US" dirty="0" err="1"/>
              <a:t>consequat</a:t>
            </a:r>
            <a:r>
              <a:rPr lang="en-US" dirty="0"/>
              <a:t> </a:t>
            </a:r>
            <a:r>
              <a:rPr lang="en-US" dirty="0" err="1"/>
              <a:t>felis</a:t>
            </a:r>
            <a:r>
              <a:rPr lang="en-US" dirty="0"/>
              <a:t> </a:t>
            </a:r>
            <a:r>
              <a:rPr lang="en-US" dirty="0" err="1"/>
              <a:t>vehicula</a:t>
            </a:r>
            <a:r>
              <a:rPr lang="en-US" dirty="0"/>
              <a:t> class </a:t>
            </a:r>
            <a:r>
              <a:rPr lang="en-US" dirty="0" err="1"/>
              <a:t>ultricies</a:t>
            </a:r>
            <a:r>
              <a:rPr lang="en-US" dirty="0"/>
              <a:t> </a:t>
            </a:r>
            <a:r>
              <a:rPr lang="en-US" dirty="0" err="1"/>
              <a:t>mollis</a:t>
            </a:r>
            <a:r>
              <a:rPr lang="en-US" dirty="0"/>
              <a:t> </a:t>
            </a:r>
            <a:r>
              <a:rPr lang="en-US" dirty="0" err="1"/>
              <a:t>dictumst</a:t>
            </a:r>
            <a:r>
              <a:rPr lang="en-US" dirty="0"/>
              <a:t>, </a:t>
            </a:r>
            <a:r>
              <a:rPr lang="en-US" dirty="0" err="1"/>
              <a:t>aenean</a:t>
            </a:r>
            <a:r>
              <a:rPr lang="en-US" dirty="0"/>
              <a:t> non a in </a:t>
            </a:r>
            <a:r>
              <a:rPr lang="en-US" dirty="0" err="1"/>
              <a:t>donec</a:t>
            </a:r>
            <a:r>
              <a:rPr lang="en-US" dirty="0"/>
              <a:t> </a:t>
            </a:r>
            <a:r>
              <a:rPr lang="en-US" dirty="0" err="1"/>
              <a:t>nulla</a:t>
            </a:r>
            <a:r>
              <a:rPr lang="en-US" dirty="0"/>
              <a:t>. </a:t>
            </a:r>
            <a:r>
              <a:rPr lang="en-US" dirty="0" err="1"/>
              <a:t>Etu</a:t>
            </a:r>
            <a:r>
              <a:rPr lang="en-US" dirty="0"/>
              <a:t> </a:t>
            </a:r>
            <a:r>
              <a:rPr lang="en-US" dirty="0" err="1"/>
              <a:t>phasellus</a:t>
            </a:r>
            <a:r>
              <a:rPr lang="en-US" dirty="0"/>
              <a:t> ante </a:t>
            </a:r>
            <a:r>
              <a:rPr lang="en-US" dirty="0" err="1"/>
              <a:t>pellentesque</a:t>
            </a:r>
            <a:r>
              <a:rPr lang="en-US" dirty="0"/>
              <a:t> </a:t>
            </a:r>
            <a:r>
              <a:rPr lang="en-US" dirty="0" err="1"/>
              <a:t>erat</a:t>
            </a:r>
            <a:r>
              <a:rPr lang="en-US" dirty="0"/>
              <a:t> cum </a:t>
            </a:r>
            <a:r>
              <a:rPr lang="en-US" dirty="0" err="1"/>
              <a:t>risus</a:t>
            </a:r>
            <a:r>
              <a:rPr lang="en-US" dirty="0"/>
              <a:t> dolor</a:t>
            </a:r>
          </a:p>
          <a:p>
            <a:pPr lvl="0"/>
            <a:endParaRPr lang="en-US" dirty="0"/>
          </a:p>
          <a:p>
            <a:pPr lvl="0"/>
            <a:r>
              <a:rPr lang="en-US" dirty="0" err="1"/>
              <a:t>Etu</a:t>
            </a:r>
            <a:r>
              <a:rPr lang="en-US" dirty="0"/>
              <a:t> </a:t>
            </a:r>
            <a:r>
              <a:rPr lang="en-US" dirty="0" err="1"/>
              <a:t>phasellus</a:t>
            </a:r>
            <a:r>
              <a:rPr lang="en-US" dirty="0"/>
              <a:t> ante</a:t>
            </a:r>
          </a:p>
          <a:p>
            <a:pPr lvl="0"/>
            <a:r>
              <a:rPr lang="en-US" dirty="0" err="1"/>
              <a:t>Viverra</a:t>
            </a:r>
            <a:r>
              <a:rPr lang="en-US" dirty="0"/>
              <a:t> dolor eros semper </a:t>
            </a:r>
            <a:r>
              <a:rPr lang="en-US" dirty="0" err="1"/>
              <a:t>sociosqu</a:t>
            </a:r>
            <a:r>
              <a:rPr lang="en-US" dirty="0"/>
              <a:t> </a:t>
            </a:r>
            <a:r>
              <a:rPr lang="en-US" dirty="0" err="1"/>
              <a:t>lobortis</a:t>
            </a:r>
            <a:r>
              <a:rPr lang="en-US" dirty="0"/>
              <a:t> </a:t>
            </a:r>
            <a:r>
              <a:rPr lang="en-US" dirty="0" err="1"/>
              <a:t>sodales</a:t>
            </a:r>
            <a:r>
              <a:rPr lang="en-US" dirty="0"/>
              <a:t> </a:t>
            </a:r>
            <a:r>
              <a:rPr lang="en-US" dirty="0" err="1"/>
              <a:t>metus</a:t>
            </a:r>
            <a:r>
              <a:rPr lang="en-US" dirty="0"/>
              <a:t> </a:t>
            </a:r>
            <a:r>
              <a:rPr lang="en-US" dirty="0" err="1"/>
              <a:t>velit</a:t>
            </a:r>
            <a:r>
              <a:rPr lang="en-US" dirty="0"/>
              <a:t>, </a:t>
            </a:r>
            <a:r>
              <a:rPr lang="en-US" dirty="0" err="1"/>
              <a:t>nulla</a:t>
            </a:r>
            <a:r>
              <a:rPr lang="en-US" dirty="0"/>
              <a:t> </a:t>
            </a:r>
            <a:r>
              <a:rPr lang="en-US" dirty="0" err="1"/>
              <a:t>leo</a:t>
            </a:r>
            <a:r>
              <a:rPr lang="en-US" dirty="0"/>
              <a:t> </a:t>
            </a:r>
            <a:r>
              <a:rPr lang="en-US" dirty="0" err="1"/>
              <a:t>turpis</a:t>
            </a:r>
            <a:r>
              <a:rPr lang="en-US" dirty="0"/>
              <a:t> </a:t>
            </a:r>
            <a:r>
              <a:rPr lang="en-US" dirty="0" err="1"/>
              <a:t>enim</a:t>
            </a:r>
            <a:r>
              <a:rPr lang="en-US" dirty="0"/>
              <a:t> </a:t>
            </a:r>
            <a:r>
              <a:rPr lang="en-US" dirty="0" err="1"/>
              <a:t>quis</a:t>
            </a:r>
            <a:r>
              <a:rPr lang="en-US" dirty="0"/>
              <a:t> </a:t>
            </a:r>
            <a:r>
              <a:rPr lang="en-US" dirty="0" err="1"/>
              <a:t>platea</a:t>
            </a:r>
            <a:r>
              <a:rPr lang="en-US" dirty="0"/>
              <a:t> cursus per </a:t>
            </a:r>
            <a:r>
              <a:rPr lang="en-US" dirty="0" err="1"/>
              <a:t>suscipit</a:t>
            </a:r>
            <a:r>
              <a:rPr lang="en-US" dirty="0"/>
              <a:t>, </a:t>
            </a:r>
            <a:r>
              <a:rPr lang="en-US" dirty="0" err="1"/>
              <a:t>consectetur</a:t>
            </a:r>
            <a:r>
              <a:rPr lang="en-US" dirty="0"/>
              <a:t> </a:t>
            </a:r>
            <a:r>
              <a:rPr lang="en-US" dirty="0" err="1"/>
              <a:t>duis</a:t>
            </a:r>
            <a:r>
              <a:rPr lang="en-US" dirty="0"/>
              <a:t> id  </a:t>
            </a:r>
            <a:r>
              <a:rPr lang="en-US" dirty="0" err="1"/>
              <a:t>risus</a:t>
            </a:r>
            <a:r>
              <a:rPr lang="en-US" dirty="0"/>
              <a:t> auctor </a:t>
            </a:r>
            <a:r>
              <a:rPr lang="en-US" dirty="0" err="1"/>
              <a:t>inceptos</a:t>
            </a:r>
            <a:r>
              <a:rPr lang="en-US" dirty="0"/>
              <a:t> </a:t>
            </a:r>
            <a:r>
              <a:rPr lang="en-US" dirty="0" err="1"/>
              <a:t>nisl</a:t>
            </a:r>
            <a:r>
              <a:rPr lang="en-US" dirty="0"/>
              <a:t>. </a:t>
            </a:r>
            <a:r>
              <a:rPr lang="en-US" dirty="0" err="1"/>
              <a:t>Facilisis</a:t>
            </a:r>
            <a:r>
              <a:rPr lang="en-US" dirty="0"/>
              <a:t> </a:t>
            </a:r>
            <a:r>
              <a:rPr lang="en-US" dirty="0" err="1"/>
              <a:t>est</a:t>
            </a:r>
            <a:r>
              <a:rPr lang="en-US" dirty="0"/>
              <a:t> </a:t>
            </a:r>
            <a:r>
              <a:rPr lang="en-US" dirty="0" err="1"/>
              <a:t>porttitor</a:t>
            </a:r>
            <a:r>
              <a:rPr lang="en-US" dirty="0"/>
              <a:t>.</a:t>
            </a:r>
          </a:p>
        </p:txBody>
      </p:sp>
      <p:sp>
        <p:nvSpPr>
          <p:cNvPr id="17" name="Text Placeholder 9">
            <a:extLst>
              <a:ext uri="{FF2B5EF4-FFF2-40B4-BE49-F238E27FC236}">
                <a16:creationId xmlns:a16="http://schemas.microsoft.com/office/drawing/2014/main" id="{0A80BEB9-2610-0A4D-80B5-1FD622F09997}"/>
              </a:ext>
            </a:extLst>
          </p:cNvPr>
          <p:cNvSpPr>
            <a:spLocks noGrp="1"/>
          </p:cNvSpPr>
          <p:nvPr>
            <p:ph type="body" sz="quarter" idx="19" hasCustomPrompt="1"/>
          </p:nvPr>
        </p:nvSpPr>
        <p:spPr>
          <a:xfrm>
            <a:off x="8278906" y="57822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9" name="Text Placeholder 2">
            <a:extLst>
              <a:ext uri="{FF2B5EF4-FFF2-40B4-BE49-F238E27FC236}">
                <a16:creationId xmlns:a16="http://schemas.microsoft.com/office/drawing/2014/main" id="{F3A56DE9-FB1F-EC49-B6BF-68FE231E2842}"/>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Open Sans Light"/>
                <a:ea typeface="+mj-ea"/>
                <a:cs typeface="Calibri Light" panose="020F0302020204030204" pitchFamily="34" charset="0"/>
              </a:rPr>
              <a:t>Click to edit title</a:t>
            </a:r>
            <a:endParaRPr kumimoji="0" lang="en-AU"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430C0141-7232-D840-B7C5-37043317FE92}"/>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282670934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Highlight - 1 - Breadcrumb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chemeClr val="accent3"/>
          </a:solidFill>
          <a:ln w="19050" algn="ctr">
            <a:noFill/>
            <a:miter lim="800000"/>
            <a:headEnd/>
            <a:tailEnd/>
          </a:ln>
        </p:spPr>
        <p:txBody>
          <a:bodyPr wrap="square" lIns="0" tIns="0" rIns="0" bIns="0" rtlCol="0" anchor="ctr">
            <a:noAutofit/>
          </a:bodyPr>
          <a:lstStyle/>
          <a:p>
            <a:pPr algn="ctr"/>
            <a:endParaRPr lang="en-US"/>
          </a:p>
        </p:txBody>
      </p:sp>
      <p:sp>
        <p:nvSpPr>
          <p:cNvPr id="14" name="Text Placeholder 7">
            <a:extLst>
              <a:ext uri="{FF2B5EF4-FFF2-40B4-BE49-F238E27FC236}">
                <a16:creationId xmlns:a16="http://schemas.microsoft.com/office/drawing/2014/main" id="{50FD3A15-BD8B-E34B-BC34-50978AF2D590}"/>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15" name="Text Placeholder 9">
            <a:extLst>
              <a:ext uri="{FF2B5EF4-FFF2-40B4-BE49-F238E27FC236}">
                <a16:creationId xmlns:a16="http://schemas.microsoft.com/office/drawing/2014/main" id="{8C0AE4FA-D2A5-C24F-B394-2F06B8655D73}"/>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16" name="Text Placeholder 9">
            <a:extLst>
              <a:ext uri="{FF2B5EF4-FFF2-40B4-BE49-F238E27FC236}">
                <a16:creationId xmlns:a16="http://schemas.microsoft.com/office/drawing/2014/main" id="{145DA036-2645-6A4B-AAB9-D5649DF2BE66}"/>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17" name="Text Placeholder 9">
            <a:extLst>
              <a:ext uri="{FF2B5EF4-FFF2-40B4-BE49-F238E27FC236}">
                <a16:creationId xmlns:a16="http://schemas.microsoft.com/office/drawing/2014/main" id="{F2697B8C-43B6-9A45-932F-FFADB537D4C2}"/>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solidFill>
                  <a:schemeClr val="tx1"/>
                </a:solidFill>
              </a:defRPr>
            </a:lvl1pPr>
          </a:lstStyle>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a:t>
            </a:r>
            <a:r>
              <a:rPr lang="en-US" err="1"/>
              <a:t>h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a:t>
            </a:r>
            <a:r>
              <a:rPr lang="en-US"/>
              <a:t> </a:t>
            </a:r>
            <a:r>
              <a:rPr lang="en-US" err="1"/>
              <a:t>adipiscing</a:t>
            </a:r>
            <a:r>
              <a:rPr lang="en-US"/>
              <a:t> ligula </a:t>
            </a:r>
            <a:r>
              <a:rPr lang="en-US" err="1"/>
              <a:t>odio</a:t>
            </a:r>
            <a:r>
              <a:rPr lang="en-US"/>
              <a:t> </a:t>
            </a:r>
            <a:r>
              <a:rPr lang="en-US" err="1"/>
              <a:t>adipiscing</a:t>
            </a:r>
            <a:r>
              <a:rPr lang="en-US"/>
              <a:t> ligula </a:t>
            </a:r>
            <a:r>
              <a:rPr lang="en-US" err="1"/>
              <a:t>odio</a:t>
            </a:r>
            <a:r>
              <a:rPr lang="en-US"/>
              <a:t> g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endParaRPr lang="en-US"/>
          </a:p>
          <a:p>
            <a:pPr lvl="0"/>
            <a:r>
              <a:rPr lang="en-US" err="1"/>
              <a:t>Quisque</a:t>
            </a:r>
            <a:r>
              <a:rPr lang="en-US"/>
              <a:t> </a:t>
            </a:r>
            <a:r>
              <a:rPr lang="en-US" err="1"/>
              <a:t>laoreet</a:t>
            </a:r>
            <a:endParaRPr lang="en-US"/>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id</a:t>
            </a:r>
            <a:r>
              <a:rPr lang="en-US"/>
              <a:t> </a:t>
            </a:r>
            <a:r>
              <a:rPr lang="en-US" err="1"/>
              <a:t>risus</a:t>
            </a:r>
            <a:r>
              <a:rPr lang="en-US"/>
              <a:t> auctor </a:t>
            </a:r>
            <a:r>
              <a:rPr lang="en-US" err="1"/>
              <a:t>inceptos</a:t>
            </a:r>
            <a:r>
              <a:rPr lang="en-US"/>
              <a:t> </a:t>
            </a:r>
            <a:r>
              <a:rPr lang="en-US" err="1"/>
              <a:t>nisl</a:t>
            </a:r>
            <a:r>
              <a:rPr lang="en-US"/>
              <a:t>.</a:t>
            </a:r>
          </a:p>
          <a:p>
            <a:pPr lvl="0"/>
            <a:endParaRPr lang="en-US"/>
          </a:p>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h </a:t>
            </a:r>
            <a:r>
              <a:rPr lang="en-US" err="1"/>
              <a:t>adipiscing</a:t>
            </a:r>
            <a:r>
              <a:rPr lang="en-US"/>
              <a:t> ligula </a:t>
            </a:r>
            <a:r>
              <a:rPr lang="en-US" err="1"/>
              <a:t>odio</a:t>
            </a:r>
            <a:r>
              <a:rPr lang="en-US"/>
              <a:t> </a:t>
            </a:r>
            <a:r>
              <a:rPr lang="en-US" err="1"/>
              <a:t>adipiscing</a:t>
            </a:r>
            <a:r>
              <a:rPr lang="en-US"/>
              <a:t> ligula </a:t>
            </a:r>
            <a:r>
              <a:rPr lang="en-US" err="1"/>
              <a:t>odio</a:t>
            </a:r>
            <a:r>
              <a:rPr lang="en-US"/>
              <a:t> </a:t>
            </a:r>
            <a:r>
              <a:rPr lang="en-US" err="1"/>
              <a:t>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g</a:t>
            </a:r>
            <a:r>
              <a:rPr lang="en-US"/>
              <a:t>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p:txBody>
      </p:sp>
      <p:sp>
        <p:nvSpPr>
          <p:cNvPr id="18" name="Text Placeholder 2">
            <a:extLst>
              <a:ext uri="{FF2B5EF4-FFF2-40B4-BE49-F238E27FC236}">
                <a16:creationId xmlns:a16="http://schemas.microsoft.com/office/drawing/2014/main" id="{423A93C1-26C8-7246-A60C-C403CB759C6E}"/>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Open Sans Light"/>
                <a:ea typeface="+mj-ea"/>
                <a:cs typeface="Calibri Light" panose="020F0302020204030204" pitchFamily="34" charset="0"/>
              </a:rPr>
              <a:t>Click to edit title</a:t>
            </a:r>
            <a:endParaRPr kumimoji="0" lang="en-AU"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ext Placeholder 2">
            <a:extLst>
              <a:ext uri="{FF2B5EF4-FFF2-40B4-BE49-F238E27FC236}">
                <a16:creationId xmlns:a16="http://schemas.microsoft.com/office/drawing/2014/main" id="{D65590C0-9BC7-0346-AE38-C0A1FBDE7992}"/>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20566842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Highlight - 2 - Breadcrumb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US"/>
          </a:p>
        </p:txBody>
      </p:sp>
      <p:sp>
        <p:nvSpPr>
          <p:cNvPr id="11" name="Text Placeholder 10">
            <a:extLst>
              <a:ext uri="{FF2B5EF4-FFF2-40B4-BE49-F238E27FC236}">
                <a16:creationId xmlns:a16="http://schemas.microsoft.com/office/drawing/2014/main" id="{C55C4337-5BFE-F74F-BFD1-A76C1C03F250}"/>
              </a:ext>
            </a:extLst>
          </p:cNvPr>
          <p:cNvSpPr>
            <a:spLocks noGrp="1"/>
          </p:cNvSpPr>
          <p:nvPr>
            <p:ph type="body" sz="quarter" idx="18" hasCustomPrompt="1"/>
          </p:nvPr>
        </p:nvSpPr>
        <p:spPr>
          <a:xfrm>
            <a:off x="4955394"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igula </a:t>
            </a:r>
            <a:r>
              <a:rPr lang="en-US" err="1"/>
              <a:t>justo</a:t>
            </a:r>
            <a:r>
              <a:rPr lang="en-US"/>
              <a:t> </a:t>
            </a:r>
            <a:r>
              <a:rPr lang="en-US" err="1"/>
              <a:t>porttitor</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 </a:t>
            </a:r>
            <a:r>
              <a:rPr lang="en-US" err="1"/>
              <a:t>Etu</a:t>
            </a:r>
            <a:r>
              <a:rPr lang="en-US"/>
              <a:t> </a:t>
            </a:r>
            <a:r>
              <a:rPr lang="en-US" err="1"/>
              <a:t>phasellus</a:t>
            </a:r>
            <a:r>
              <a:rPr lang="en-US"/>
              <a:t> ante </a:t>
            </a:r>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p>
        </p:txBody>
      </p:sp>
      <p:sp>
        <p:nvSpPr>
          <p:cNvPr id="15" name="Text Placeholder 10">
            <a:extLst>
              <a:ext uri="{FF2B5EF4-FFF2-40B4-BE49-F238E27FC236}">
                <a16:creationId xmlns:a16="http://schemas.microsoft.com/office/drawing/2014/main" id="{05808D96-A577-AF40-9D56-1FF43AA9660E}"/>
              </a:ext>
            </a:extLst>
          </p:cNvPr>
          <p:cNvSpPr>
            <a:spLocks noGrp="1"/>
          </p:cNvSpPr>
          <p:nvPr>
            <p:ph type="body" sz="quarter" idx="19" hasCustomPrompt="1"/>
          </p:nvPr>
        </p:nvSpPr>
        <p:spPr>
          <a:xfrm>
            <a:off x="8135112"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igula </a:t>
            </a:r>
            <a:r>
              <a:rPr lang="en-US" err="1"/>
              <a:t>justo</a:t>
            </a:r>
            <a:r>
              <a:rPr lang="en-US"/>
              <a:t> </a:t>
            </a:r>
            <a:r>
              <a:rPr lang="en-US" err="1"/>
              <a:t>porttitor</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 </a:t>
            </a:r>
            <a:r>
              <a:rPr lang="en-US" err="1"/>
              <a:t>Etu</a:t>
            </a:r>
            <a:r>
              <a:rPr lang="en-US"/>
              <a:t> </a:t>
            </a:r>
            <a:r>
              <a:rPr lang="en-US" err="1"/>
              <a:t>phasellus</a:t>
            </a:r>
            <a:r>
              <a:rPr lang="en-US"/>
              <a:t> ante </a:t>
            </a:r>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p>
        </p:txBody>
      </p:sp>
      <p:sp>
        <p:nvSpPr>
          <p:cNvPr id="17" name="Text Placeholder 16">
            <a:extLst>
              <a:ext uri="{FF2B5EF4-FFF2-40B4-BE49-F238E27FC236}">
                <a16:creationId xmlns:a16="http://schemas.microsoft.com/office/drawing/2014/main" id="{A80E9A9B-D905-6744-B429-EF79B075874D}"/>
              </a:ext>
            </a:extLst>
          </p:cNvPr>
          <p:cNvSpPr>
            <a:spLocks noGrp="1"/>
          </p:cNvSpPr>
          <p:nvPr>
            <p:ph type="body" sz="quarter" idx="20" hasCustomPrompt="1"/>
          </p:nvPr>
        </p:nvSpPr>
        <p:spPr>
          <a:xfrm>
            <a:off x="4953000" y="3429000"/>
            <a:ext cx="6286500" cy="19288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a:t>
            </a:r>
            <a:r>
              <a:rPr lang="en-US" err="1"/>
              <a:t>h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a:t>
            </a:r>
            <a:r>
              <a:rPr lang="en-US"/>
              <a:t> </a:t>
            </a:r>
            <a:r>
              <a:rPr lang="en-US" err="1"/>
              <a:t>adipiscing</a:t>
            </a:r>
            <a:r>
              <a:rPr lang="en-US"/>
              <a:t> ligula </a:t>
            </a:r>
            <a:r>
              <a:rPr lang="en-US" err="1"/>
              <a:t>odio</a:t>
            </a:r>
            <a:r>
              <a:rPr lang="en-US"/>
              <a:t> </a:t>
            </a:r>
            <a:r>
              <a:rPr lang="en-US" err="1"/>
              <a:t>adipiscing</a:t>
            </a:r>
            <a:r>
              <a:rPr lang="en-US"/>
              <a:t> ligula </a:t>
            </a:r>
            <a:r>
              <a:rPr lang="en-US" err="1"/>
              <a:t>odio</a:t>
            </a:r>
            <a:r>
              <a:rPr lang="en-US"/>
              <a:t> g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endParaRPr lang="en-US"/>
          </a:p>
          <a:p>
            <a:pPr lvl="0"/>
            <a:r>
              <a:rPr lang="en-US" err="1"/>
              <a:t>Quisque</a:t>
            </a:r>
            <a:r>
              <a:rPr lang="en-US"/>
              <a:t> </a:t>
            </a:r>
            <a:r>
              <a:rPr lang="en-US" err="1"/>
              <a:t>laoreet</a:t>
            </a:r>
            <a:endParaRPr lang="en-US"/>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id</a:t>
            </a:r>
            <a:r>
              <a:rPr lang="en-US"/>
              <a:t> </a:t>
            </a:r>
            <a:r>
              <a:rPr lang="en-US" err="1"/>
              <a:t>risus</a:t>
            </a:r>
            <a:r>
              <a:rPr lang="en-US"/>
              <a:t> auctor </a:t>
            </a:r>
            <a:r>
              <a:rPr lang="en-US" err="1"/>
              <a:t>inceptos</a:t>
            </a:r>
            <a:r>
              <a:rPr lang="en-US"/>
              <a:t> </a:t>
            </a:r>
            <a:r>
              <a:rPr lang="en-US" err="1"/>
              <a:t>nisl</a:t>
            </a:r>
            <a:r>
              <a:rPr lang="en-US"/>
              <a:t>.</a:t>
            </a:r>
          </a:p>
          <a:p>
            <a:pPr lvl="0"/>
            <a:endParaRPr lang="en-US"/>
          </a:p>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h </a:t>
            </a:r>
            <a:r>
              <a:rPr lang="en-US" err="1"/>
              <a:t>adipiscing</a:t>
            </a:r>
            <a:r>
              <a:rPr lang="en-US"/>
              <a:t> ligula </a:t>
            </a:r>
            <a:r>
              <a:rPr lang="en-US" err="1"/>
              <a:t>odio</a:t>
            </a:r>
            <a:r>
              <a:rPr lang="en-US"/>
              <a:t> </a:t>
            </a:r>
            <a:r>
              <a:rPr lang="en-US" err="1"/>
              <a:t>adipiscing</a:t>
            </a:r>
            <a:r>
              <a:rPr lang="en-US"/>
              <a:t> ligula </a:t>
            </a:r>
            <a:r>
              <a:rPr lang="en-US" err="1"/>
              <a:t>odio</a:t>
            </a:r>
            <a:r>
              <a:rPr lang="en-US"/>
              <a:t> </a:t>
            </a:r>
            <a:r>
              <a:rPr lang="en-US" err="1"/>
              <a:t>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g</a:t>
            </a:r>
            <a:r>
              <a:rPr lang="en-US"/>
              <a:t>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p:txBody>
      </p:sp>
      <p:sp>
        <p:nvSpPr>
          <p:cNvPr id="14" name="Text Placeholder 7">
            <a:extLst>
              <a:ext uri="{FF2B5EF4-FFF2-40B4-BE49-F238E27FC236}">
                <a16:creationId xmlns:a16="http://schemas.microsoft.com/office/drawing/2014/main" id="{5C6CFBB4-2358-3847-A891-56DD4504D08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16" name="Text Placeholder 2">
            <a:extLst>
              <a:ext uri="{FF2B5EF4-FFF2-40B4-BE49-F238E27FC236}">
                <a16:creationId xmlns:a16="http://schemas.microsoft.com/office/drawing/2014/main" id="{FCA932F0-619D-AC43-A797-7FE8DE7E0665}"/>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Open Sans Light"/>
                <a:ea typeface="+mj-ea"/>
                <a:cs typeface="Calibri Light" panose="020F0302020204030204" pitchFamily="34" charset="0"/>
              </a:rPr>
              <a:t>Click to edit title</a:t>
            </a:r>
            <a:endParaRPr kumimoji="0" lang="en-AU"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 Placeholder 2">
            <a:extLst>
              <a:ext uri="{FF2B5EF4-FFF2-40B4-BE49-F238E27FC236}">
                <a16:creationId xmlns:a16="http://schemas.microsoft.com/office/drawing/2014/main" id="{6EE2228D-846D-5B41-BE67-F6113146949C}"/>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8056757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head: Sidebar - No Content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US"/>
          </a:p>
        </p:txBody>
      </p:sp>
      <p:sp>
        <p:nvSpPr>
          <p:cNvPr id="11" name="Title Placeholder 1">
            <a:extLst>
              <a:ext uri="{FF2B5EF4-FFF2-40B4-BE49-F238E27FC236}">
                <a16:creationId xmlns:a16="http://schemas.microsoft.com/office/drawing/2014/main" id="{CCC8559E-F5E2-0347-840E-E629DC9F61B5}"/>
              </a:ext>
            </a:extLst>
          </p:cNvPr>
          <p:cNvSpPr>
            <a:spLocks noGrp="1"/>
          </p:cNvSpPr>
          <p:nvPr>
            <p:ph type="title" hasCustomPrompt="1"/>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US" noProof="0" dirty="0"/>
              <a:t>Click to edit title</a:t>
            </a:r>
          </a:p>
        </p:txBody>
      </p:sp>
      <p:sp>
        <p:nvSpPr>
          <p:cNvPr id="15" name="Text Placeholder 7">
            <a:extLst>
              <a:ext uri="{FF2B5EF4-FFF2-40B4-BE49-F238E27FC236}">
                <a16:creationId xmlns:a16="http://schemas.microsoft.com/office/drawing/2014/main" id="{6627A73F-C8F9-C143-A124-0C1DFBD38A80}"/>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7" name="Text Placeholder 2">
            <a:extLst>
              <a:ext uri="{FF2B5EF4-FFF2-40B4-BE49-F238E27FC236}">
                <a16:creationId xmlns:a16="http://schemas.microsoft.com/office/drawing/2014/main" id="{51E4E160-91BA-1643-BD5A-DEEF6991229A}"/>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823852195"/>
      </p:ext>
    </p:extLst>
  </p:cSld>
  <p:clrMapOvr>
    <a:masterClrMapping/>
  </p:clrMapOvr>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Subhead: Sidebar - Messaging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chemeClr val="accent6">
              <a:lumMod val="75000"/>
            </a:schemeClr>
          </a:solidFill>
          <a:ln w="19050" algn="ctr">
            <a:noFill/>
            <a:miter lim="800000"/>
            <a:headEnd/>
            <a:tailEnd/>
          </a:ln>
        </p:spPr>
        <p:txBody>
          <a:bodyPr wrap="square" lIns="0" tIns="0" rIns="0" bIns="0" rtlCol="0" anchor="ctr">
            <a:noAutofit/>
          </a:bodyPr>
          <a:lstStyle/>
          <a:p>
            <a:pPr algn="ctr"/>
            <a:endParaRPr lang="en-US"/>
          </a:p>
        </p:txBody>
      </p:sp>
      <p:sp>
        <p:nvSpPr>
          <p:cNvPr id="13" name="Title Placeholder 1">
            <a:extLst>
              <a:ext uri="{FF2B5EF4-FFF2-40B4-BE49-F238E27FC236}">
                <a16:creationId xmlns:a16="http://schemas.microsoft.com/office/drawing/2014/main" id="{41AED56B-4FBA-7B41-8642-EECEFE511009}"/>
              </a:ext>
            </a:extLst>
          </p:cNvPr>
          <p:cNvSpPr>
            <a:spLocks noGrp="1"/>
          </p:cNvSpPr>
          <p:nvPr>
            <p:ph type="title" hasCustomPrompt="1"/>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US" noProof="0" dirty="0"/>
              <a:t>Click to edit title</a:t>
            </a:r>
          </a:p>
        </p:txBody>
      </p:sp>
      <p:sp>
        <p:nvSpPr>
          <p:cNvPr id="17" name="Text Placeholder 7">
            <a:extLst>
              <a:ext uri="{FF2B5EF4-FFF2-40B4-BE49-F238E27FC236}">
                <a16:creationId xmlns:a16="http://schemas.microsoft.com/office/drawing/2014/main" id="{333FE8BD-D45A-D947-B56A-6B35CC9BAFA2}"/>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19" name="Text Placeholder 10">
            <a:extLst>
              <a:ext uri="{FF2B5EF4-FFF2-40B4-BE49-F238E27FC236}">
                <a16:creationId xmlns:a16="http://schemas.microsoft.com/office/drawing/2014/main" id="{EADA8F4D-49E2-2C4C-8EFD-35EE530F2D3D}"/>
              </a:ext>
            </a:extLst>
          </p:cNvPr>
          <p:cNvSpPr>
            <a:spLocks noGrp="1"/>
          </p:cNvSpPr>
          <p:nvPr>
            <p:ph type="body" sz="quarter" idx="16" hasCustomPrompt="1"/>
          </p:nvPr>
        </p:nvSpPr>
        <p:spPr>
          <a:xfrm>
            <a:off x="5642429" y="1092200"/>
            <a:ext cx="5219700" cy="18288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err="1"/>
              <a:t>Mollis</a:t>
            </a:r>
            <a:r>
              <a:rPr lang="en-US"/>
              <a:t> </a:t>
            </a:r>
            <a:r>
              <a:rPr lang="en-US" err="1"/>
              <a:t>pretium</a:t>
            </a:r>
            <a:r>
              <a:rPr lang="en-US"/>
              <a:t> lorem </a:t>
            </a:r>
            <a:r>
              <a:rPr lang="en-US" err="1"/>
              <a:t>primisetua</a:t>
            </a:r>
            <a:r>
              <a:rPr lang="en-US"/>
              <a:t>, </a:t>
            </a:r>
            <a:r>
              <a:rPr lang="en-US" err="1"/>
              <a:t>senectus</a:t>
            </a:r>
            <a:r>
              <a:rPr lang="en-US"/>
              <a:t> </a:t>
            </a:r>
            <a:r>
              <a:rPr lang="en-US" err="1"/>
              <a:t>habitasse</a:t>
            </a:r>
            <a:r>
              <a:rPr lang="en-US"/>
              <a:t> </a:t>
            </a:r>
            <a:r>
              <a:rPr lang="en-US" err="1"/>
              <a:t>lectusetu</a:t>
            </a:r>
            <a:r>
              <a:rPr lang="en-US"/>
              <a:t> </a:t>
            </a:r>
            <a:r>
              <a:rPr lang="en-US" err="1"/>
              <a:t>doler</a:t>
            </a:r>
            <a:r>
              <a:rPr lang="en-US"/>
              <a:t> </a:t>
            </a:r>
            <a:r>
              <a:rPr lang="en-US" err="1"/>
              <a:t>scelerisque</a:t>
            </a:r>
            <a:r>
              <a:rPr lang="en-US"/>
              <a:t> </a:t>
            </a:r>
            <a:r>
              <a:rPr lang="en-US" err="1"/>
              <a:t>donec</a:t>
            </a:r>
            <a:r>
              <a:rPr lang="en-US"/>
              <a:t>, </a:t>
            </a:r>
            <a:r>
              <a:rPr lang="en-US" err="1"/>
              <a:t>ultricies</a:t>
            </a:r>
            <a:r>
              <a:rPr lang="en-US"/>
              <a:t> </a:t>
            </a:r>
            <a:r>
              <a:rPr lang="en-US" err="1"/>
              <a:t>tortor</a:t>
            </a:r>
            <a:r>
              <a:rPr lang="en-US"/>
              <a:t> </a:t>
            </a:r>
            <a:r>
              <a:rPr lang="en-US" err="1"/>
              <a:t>suspendisse</a:t>
            </a:r>
            <a:r>
              <a:rPr lang="en-US"/>
              <a:t> </a:t>
            </a:r>
            <a:r>
              <a:rPr lang="en-US" err="1"/>
              <a:t>adipiscing</a:t>
            </a:r>
            <a:r>
              <a:rPr lang="en-US"/>
              <a:t> </a:t>
            </a:r>
            <a:r>
              <a:rPr lang="en-US" err="1"/>
              <a:t>fusce</a:t>
            </a:r>
            <a:r>
              <a:rPr lang="en-US"/>
              <a:t> </a:t>
            </a:r>
            <a:r>
              <a:rPr lang="en-US" err="1"/>
              <a:t>morbi</a:t>
            </a:r>
            <a:r>
              <a:rPr lang="en-US"/>
              <a:t> </a:t>
            </a:r>
            <a:r>
              <a:rPr lang="en-US" err="1"/>
              <a:t>volutpat</a:t>
            </a:r>
            <a:r>
              <a:rPr lang="en-US"/>
              <a:t> </a:t>
            </a:r>
            <a:r>
              <a:rPr lang="en-US" err="1"/>
              <a:t>pellentesque</a:t>
            </a:r>
            <a:r>
              <a:rPr lang="en-US"/>
              <a:t>, </a:t>
            </a:r>
            <a:r>
              <a:rPr lang="en-US" err="1"/>
              <a:t>consectetur</a:t>
            </a:r>
            <a:r>
              <a:rPr lang="en-US"/>
              <a:t> mi </a:t>
            </a:r>
            <a:r>
              <a:rPr lang="en-US" err="1"/>
              <a:t>risus</a:t>
            </a:r>
            <a:r>
              <a:rPr lang="en-US"/>
              <a:t> </a:t>
            </a:r>
            <a:r>
              <a:rPr lang="en-US" err="1"/>
              <a:t>molestie</a:t>
            </a:r>
            <a:r>
              <a:rPr lang="en-US"/>
              <a:t> </a:t>
            </a:r>
            <a:r>
              <a:rPr lang="en-US" err="1"/>
              <a:t>curae</a:t>
            </a:r>
            <a:r>
              <a:rPr lang="en-US"/>
              <a:t> </a:t>
            </a:r>
            <a:r>
              <a:rPr lang="en-US" err="1"/>
              <a:t>malesuada</a:t>
            </a:r>
            <a:r>
              <a:rPr lang="en-US"/>
              <a:t>. Massa </a:t>
            </a:r>
            <a:r>
              <a:rPr lang="en-US" err="1"/>
              <a:t>curae</a:t>
            </a:r>
            <a:r>
              <a:rPr lang="en-US"/>
              <a:t> </a:t>
            </a:r>
            <a:r>
              <a:rPr lang="en-US" err="1"/>
              <a:t>fringilla</a:t>
            </a:r>
            <a:r>
              <a:rPr lang="en-US"/>
              <a:t> </a:t>
            </a:r>
            <a:r>
              <a:rPr lang="en-US" err="1"/>
              <a:t>porttitor</a:t>
            </a:r>
            <a:r>
              <a:rPr lang="en-US"/>
              <a:t> </a:t>
            </a:r>
            <a:r>
              <a:rPr lang="en-US" err="1"/>
              <a:t>quam</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a:t>
            </a:r>
          </a:p>
        </p:txBody>
      </p:sp>
      <p:sp>
        <p:nvSpPr>
          <p:cNvPr id="21" name="Text Placeholder 13">
            <a:extLst>
              <a:ext uri="{FF2B5EF4-FFF2-40B4-BE49-F238E27FC236}">
                <a16:creationId xmlns:a16="http://schemas.microsoft.com/office/drawing/2014/main" id="{9F0D342F-3673-B847-BC99-40D039EE6742}"/>
              </a:ext>
            </a:extLst>
          </p:cNvPr>
          <p:cNvSpPr>
            <a:spLocks noGrp="1"/>
          </p:cNvSpPr>
          <p:nvPr>
            <p:ph type="body" sz="quarter" idx="17" hasCustomPrompt="1"/>
          </p:nvPr>
        </p:nvSpPr>
        <p:spPr>
          <a:xfrm>
            <a:off x="5642429" y="3289300"/>
            <a:ext cx="5219700" cy="1766794"/>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dirty="0"/>
              <a:t>Felis </a:t>
            </a:r>
            <a:r>
              <a:rPr lang="en-US" dirty="0" err="1"/>
              <a:t>blandit</a:t>
            </a:r>
            <a:r>
              <a:rPr lang="en-US" dirty="0"/>
              <a:t> cursus</a:t>
            </a:r>
            <a:br>
              <a:rPr lang="en-US" dirty="0"/>
            </a:br>
            <a:endParaRPr lang="en-US" dirty="0"/>
          </a:p>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urna</a:t>
            </a:r>
            <a:r>
              <a:rPr lang="en-US" dirty="0"/>
              <a:t> </a:t>
            </a:r>
            <a:r>
              <a:rPr lang="en-US" dirty="0" err="1"/>
              <a:t>consequat</a:t>
            </a:r>
            <a:r>
              <a:rPr lang="en-US" dirty="0"/>
              <a:t> </a:t>
            </a:r>
            <a:r>
              <a:rPr lang="en-US" dirty="0" err="1"/>
              <a:t>felis</a:t>
            </a:r>
            <a:r>
              <a:rPr lang="en-US" dirty="0"/>
              <a:t> </a:t>
            </a:r>
            <a:r>
              <a:rPr lang="en-US" dirty="0" err="1"/>
              <a:t>vehicula</a:t>
            </a:r>
            <a:r>
              <a:rPr lang="en-US" dirty="0"/>
              <a:t> class </a:t>
            </a:r>
            <a:r>
              <a:rPr lang="en-US" dirty="0" err="1"/>
              <a:t>ultricies</a:t>
            </a:r>
            <a:r>
              <a:rPr lang="en-US" dirty="0"/>
              <a:t> </a:t>
            </a:r>
            <a:r>
              <a:rPr lang="en-US" dirty="0" err="1"/>
              <a:t>mollis</a:t>
            </a:r>
            <a:r>
              <a:rPr lang="en-US" dirty="0"/>
              <a:t> </a:t>
            </a:r>
            <a:r>
              <a:rPr lang="en-US" dirty="0" err="1"/>
              <a:t>dictumst</a:t>
            </a:r>
            <a:r>
              <a:rPr lang="en-US" dirty="0"/>
              <a:t>, </a:t>
            </a:r>
            <a:r>
              <a:rPr lang="en-US" dirty="0" err="1"/>
              <a:t>aenean</a:t>
            </a:r>
            <a:r>
              <a:rPr lang="en-US" dirty="0"/>
              <a:t> non a in </a:t>
            </a:r>
            <a:r>
              <a:rPr lang="en-US" dirty="0" err="1"/>
              <a:t>donec</a:t>
            </a:r>
            <a:r>
              <a:rPr lang="en-US" dirty="0"/>
              <a:t> </a:t>
            </a:r>
            <a:r>
              <a:rPr lang="en-US" dirty="0" err="1"/>
              <a:t>nulla.Etu</a:t>
            </a:r>
            <a:r>
              <a:rPr lang="en-US" dirty="0"/>
              <a:t> </a:t>
            </a:r>
            <a:r>
              <a:rPr lang="en-US" dirty="0" err="1"/>
              <a:t>phasellus</a:t>
            </a:r>
            <a:r>
              <a:rPr lang="en-US" dirty="0"/>
              <a:t> ante </a:t>
            </a:r>
            <a:r>
              <a:rPr lang="en-US" dirty="0" err="1"/>
              <a:t>pellentesque</a:t>
            </a:r>
            <a:r>
              <a:rPr lang="en-US" dirty="0"/>
              <a:t> </a:t>
            </a:r>
            <a:r>
              <a:rPr lang="en-US" dirty="0" err="1"/>
              <a:t>erat</a:t>
            </a:r>
            <a:r>
              <a:rPr lang="en-US" dirty="0"/>
              <a:t> cum </a:t>
            </a:r>
            <a:r>
              <a:rPr lang="en-US" dirty="0" err="1"/>
              <a:t>risus</a:t>
            </a:r>
            <a:r>
              <a:rPr lang="en-US" dirty="0"/>
              <a:t> dolor </a:t>
            </a:r>
            <a:r>
              <a:rPr lang="en-US" dirty="0" err="1"/>
              <a:t>consequat</a:t>
            </a:r>
            <a:r>
              <a:rPr lang="en-US" dirty="0"/>
              <a:t> </a:t>
            </a:r>
            <a:r>
              <a:rPr lang="en-US" dirty="0" err="1"/>
              <a:t>imperdiet</a:t>
            </a:r>
            <a:r>
              <a:rPr lang="en-US" dirty="0"/>
              <a:t> </a:t>
            </a:r>
            <a:r>
              <a:rPr lang="en-US" dirty="0" err="1"/>
              <a:t>aliquam</a:t>
            </a:r>
            <a:r>
              <a:rPr lang="en-US" dirty="0"/>
              <a:t>, integer </a:t>
            </a:r>
            <a:r>
              <a:rPr lang="en-US" dirty="0" err="1"/>
              <a:t>placerat</a:t>
            </a:r>
            <a:r>
              <a:rPr lang="en-US" dirty="0"/>
              <a:t> et </a:t>
            </a:r>
            <a:r>
              <a:rPr lang="en-US" dirty="0" err="1"/>
              <a:t>turpis</a:t>
            </a:r>
            <a:r>
              <a:rPr lang="en-US" dirty="0"/>
              <a:t> mi eros </a:t>
            </a:r>
            <a:r>
              <a:rPr lang="en-US" dirty="0" err="1"/>
              <a:t>nec</a:t>
            </a:r>
            <a:r>
              <a:rPr lang="en-US" dirty="0"/>
              <a:t> </a:t>
            </a:r>
            <a:r>
              <a:rPr lang="en-US" dirty="0" err="1"/>
              <a:t>lobortis</a:t>
            </a:r>
            <a:r>
              <a:rPr lang="en-US" dirty="0"/>
              <a:t> </a:t>
            </a:r>
            <a:r>
              <a:rPr lang="en-US" dirty="0" err="1"/>
              <a:t>taciti</a:t>
            </a:r>
            <a:r>
              <a:rPr lang="en-US" dirty="0"/>
              <a:t>, </a:t>
            </a:r>
            <a:r>
              <a:rPr lang="en-US" dirty="0" err="1"/>
              <a:t>vehicula</a:t>
            </a:r>
            <a:r>
              <a:rPr lang="en-US" dirty="0"/>
              <a:t> </a:t>
            </a:r>
            <a:r>
              <a:rPr lang="en-US" dirty="0" err="1"/>
              <a:t>nisl</a:t>
            </a:r>
            <a:r>
              <a:rPr lang="en-US" dirty="0"/>
              <a:t> </a:t>
            </a:r>
            <a:r>
              <a:rPr lang="en-US" dirty="0" err="1"/>
              <a:t>litora</a:t>
            </a:r>
            <a:r>
              <a:rPr lang="en-US" dirty="0"/>
              <a:t> </a:t>
            </a:r>
            <a:r>
              <a:rPr lang="en-US" dirty="0" err="1"/>
              <a:t>tellus</a:t>
            </a:r>
            <a:r>
              <a:rPr lang="en-US" dirty="0"/>
              <a:t> ligula </a:t>
            </a:r>
            <a:r>
              <a:rPr lang="en-US" dirty="0" err="1"/>
              <a:t>porttitor</a:t>
            </a:r>
            <a:r>
              <a:rPr lang="en-US" dirty="0"/>
              <a:t> </a:t>
            </a:r>
            <a:r>
              <a:rPr lang="en-US" dirty="0" err="1"/>
              <a:t>metus</a:t>
            </a:r>
            <a:r>
              <a:rPr lang="en-US" dirty="0"/>
              <a:t>.</a:t>
            </a:r>
          </a:p>
        </p:txBody>
      </p:sp>
      <p:sp>
        <p:nvSpPr>
          <p:cNvPr id="12" name="Text Placeholder 2">
            <a:extLst>
              <a:ext uri="{FF2B5EF4-FFF2-40B4-BE49-F238E27FC236}">
                <a16:creationId xmlns:a16="http://schemas.microsoft.com/office/drawing/2014/main" id="{ED633F59-6411-B04C-9766-5D5A6C77B462}"/>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1980084085"/>
      </p:ext>
    </p:extLst>
  </p:cSld>
  <p:clrMapOvr>
    <a:masterClrMapping/>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ubhead: No Content - Color Background - Breadcrumbs">
    <p:bg>
      <p:bgPr>
        <a:solidFill>
          <a:schemeClr val="accent3"/>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5A68138-9B79-A34C-8807-301BF1C1DD1A}"/>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dirty="0"/>
              <a:t>Click to edit title</a:t>
            </a:r>
          </a:p>
        </p:txBody>
      </p:sp>
      <p:sp>
        <p:nvSpPr>
          <p:cNvPr id="7" name="Text Placeholder 7">
            <a:extLst>
              <a:ext uri="{FF2B5EF4-FFF2-40B4-BE49-F238E27FC236}">
                <a16:creationId xmlns:a16="http://schemas.microsoft.com/office/drawing/2014/main" id="{361D53D8-8D04-6E48-BB88-DA95C287DAC4}"/>
              </a:ext>
            </a:extLst>
          </p:cNvPr>
          <p:cNvSpPr>
            <a:spLocks noGrp="1"/>
          </p:cNvSpPr>
          <p:nvPr>
            <p:ph type="body" sz="quarter" idx="14"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6" name="Text Placeholder 2">
            <a:extLst>
              <a:ext uri="{FF2B5EF4-FFF2-40B4-BE49-F238E27FC236}">
                <a16:creationId xmlns:a16="http://schemas.microsoft.com/office/drawing/2014/main" id="{C30DE950-C77B-874B-8711-BC0D36AE87D1}"/>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2684815876"/>
      </p:ext>
    </p:extLst>
  </p:cSld>
  <p:clrMapOvr>
    <a:masterClrMapping/>
  </p:clrMapOvr>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Sidebar - Story Messaging - Breadcrumbs">
    <p:bg>
      <p:bgPr>
        <a:solidFill>
          <a:schemeClr val="tx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F7140D68-4543-E245-9170-0C0BB402B166}"/>
              </a:ext>
            </a:extLst>
          </p:cNvPr>
          <p:cNvSpPr>
            <a:spLocks noGrp="1"/>
          </p:cNvSpPr>
          <p:nvPr>
            <p:ph type="pic" sz="quarter" idx="16" hasCustomPrompt="1"/>
          </p:nvPr>
        </p:nvSpPr>
        <p:spPr>
          <a:xfrm>
            <a:off x="0" y="0"/>
            <a:ext cx="4941888" cy="6858000"/>
          </a:xfrm>
        </p:spPr>
        <p:txBody>
          <a:bodyPr vert="horz" anchor="ctr" anchorCtr="0"/>
          <a:lstStyle>
            <a:lvl1pPr algn="ctr">
              <a:defRPr>
                <a:solidFill>
                  <a:schemeClr val="bg1"/>
                </a:solidFill>
              </a:defRPr>
            </a:lvl1pPr>
          </a:lstStyle>
          <a:p>
            <a:r>
              <a:rPr lang="en-US" dirty="0"/>
              <a:t>Click to insert accent graphic or photo</a:t>
            </a:r>
          </a:p>
        </p:txBody>
      </p:sp>
      <p:sp>
        <p:nvSpPr>
          <p:cNvPr id="4" name="Text Placeholder 3">
            <a:extLst>
              <a:ext uri="{FF2B5EF4-FFF2-40B4-BE49-F238E27FC236}">
                <a16:creationId xmlns:a16="http://schemas.microsoft.com/office/drawing/2014/main" id="{4ABAB6B2-829B-074B-A309-B3978A8AE2F8}"/>
              </a:ext>
            </a:extLst>
          </p:cNvPr>
          <p:cNvSpPr>
            <a:spLocks noGrp="1"/>
          </p:cNvSpPr>
          <p:nvPr>
            <p:ph type="body" sz="quarter" idx="15" hasCustomPrompt="1"/>
          </p:nvPr>
        </p:nvSpPr>
        <p:spPr>
          <a:xfrm>
            <a:off x="6019800" y="819150"/>
            <a:ext cx="5219700" cy="5219700"/>
          </a:xfrm>
        </p:spPr>
        <p:txBody>
          <a:bodyPr numCol="2" spcCol="457200">
            <a:noAutofit/>
          </a:bodyPr>
          <a:lstStyle>
            <a:lvl1pPr marL="0" marR="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sz="1000">
                <a:solidFill>
                  <a:schemeClr val="bg1"/>
                </a:solidFill>
              </a:defRPr>
            </a:lvl1pPr>
          </a:lstStyle>
          <a:p>
            <a:pPr lvl="0"/>
            <a:r>
              <a:rPr lang="en-US" dirty="0"/>
              <a:t>To change the slide background, go to “Format Background and select a color from the Deloitte Digital pallet.</a:t>
            </a:r>
          </a:p>
          <a:p>
            <a:pPr lvl="0"/>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r>
              <a:rPr lang="en-US" dirty="0"/>
              <a:t> </a:t>
            </a:r>
            <a:r>
              <a:rPr lang="en-US" dirty="0" err="1"/>
              <a:t>est</a:t>
            </a:r>
            <a:r>
              <a:rPr lang="en-US" dirty="0"/>
              <a:t> ad.</a:t>
            </a:r>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patent</a:t>
            </a:r>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dirty="0"/>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endParaRPr lang="en-US" dirty="0"/>
          </a:p>
          <a:p>
            <a:pPr lvl="0"/>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endParaRPr lang="en-US" dirty="0"/>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endParaRPr lang="en-US" dirty="0"/>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dirty="0"/>
          </a:p>
          <a:p>
            <a:pPr lvl="0"/>
            <a:endParaRPr lang="en-US" dirty="0"/>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dirty="0"/>
          </a:p>
          <a:p>
            <a:pPr lvl="0"/>
            <a:endParaRPr lang="en-US" dirty="0"/>
          </a:p>
        </p:txBody>
      </p:sp>
      <p:sp>
        <p:nvSpPr>
          <p:cNvPr id="6" name="Text Placeholder 2">
            <a:extLst>
              <a:ext uri="{FF2B5EF4-FFF2-40B4-BE49-F238E27FC236}">
                <a16:creationId xmlns:a16="http://schemas.microsoft.com/office/drawing/2014/main" id="{D834A5D8-0FDE-E046-A11C-B93B69F6BAEF}"/>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741161289"/>
      </p:ext>
    </p:extLst>
  </p:cSld>
  <p:clrMapOvr>
    <a:masterClrMapping/>
  </p:clrMapOvr>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losin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B256914-04EC-9C42-BB76-E30892346F1D}"/>
              </a:ext>
            </a:extLst>
          </p:cNvPr>
          <p:cNvSpPr/>
          <p:nvPr userDrawn="1"/>
        </p:nvSpPr>
        <p:spPr>
          <a:xfrm>
            <a:off x="4312920" y="3494299"/>
            <a:ext cx="6324599" cy="266740"/>
          </a:xfrm>
          <a:prstGeom prst="rect">
            <a:avLst/>
          </a:prstGeom>
        </p:spPr>
        <p:txBody>
          <a:bodyPr wrap="square" lIns="0" tIns="0" rIns="0" bIns="0" numCol="1" spcCol="360000" anchor="b">
            <a:spAutoFit/>
          </a:bodyPr>
          <a:lstStyle/>
          <a:p>
            <a:pPr marL="0" algn="l" defTabSz="914400" rtl="0" eaLnBrk="1" latinLnBrk="0" hangingPunct="1">
              <a:lnSpc>
                <a:spcPct val="100000"/>
              </a:lnSpc>
              <a:spcAft>
                <a:spcPts val="400"/>
              </a:spcAft>
            </a:pPr>
            <a:r>
              <a:rPr lang="en-US" sz="700" kern="1200" dirty="0">
                <a:solidFill>
                  <a:schemeClr val="bg2">
                    <a:lumMod val="75000"/>
                  </a:schemeClr>
                </a:solidFill>
                <a:latin typeface="+mn-lt"/>
                <a:ea typeface="+mn-ea"/>
                <a:cs typeface="+mn-cs"/>
              </a:rPr>
              <a:t>This document and the information contained in it is confidential and should not be used or disclosed in any way without our prior consent. </a:t>
            </a:r>
          </a:p>
          <a:p>
            <a:pPr marL="0" algn="l" defTabSz="914400" rtl="0" eaLnBrk="1" latinLnBrk="0" hangingPunct="1">
              <a:lnSpc>
                <a:spcPct val="100000"/>
              </a:lnSpc>
              <a:spcAft>
                <a:spcPts val="400"/>
              </a:spcAft>
            </a:pPr>
            <a:r>
              <a:rPr lang="en-US" sz="700" kern="1200" dirty="0">
                <a:solidFill>
                  <a:schemeClr val="bg2">
                    <a:lumMod val="75000"/>
                  </a:schemeClr>
                </a:solidFill>
                <a:latin typeface="+mn-lt"/>
                <a:ea typeface="+mn-ea"/>
                <a:cs typeface="+mn-cs"/>
              </a:rPr>
              <a:t>Where we advertise or represent that tax agent services will be provided by us, such services will be provided by a Deloitte registered tax agent.</a:t>
            </a:r>
          </a:p>
        </p:txBody>
      </p:sp>
      <p:sp>
        <p:nvSpPr>
          <p:cNvPr id="24" name="Rectangle 23">
            <a:extLst>
              <a:ext uri="{FF2B5EF4-FFF2-40B4-BE49-F238E27FC236}">
                <a16:creationId xmlns:a16="http://schemas.microsoft.com/office/drawing/2014/main" id="{E56ECED3-BAA1-764B-9B16-8174D73284CC}"/>
              </a:ext>
            </a:extLst>
          </p:cNvPr>
          <p:cNvSpPr/>
          <p:nvPr userDrawn="1"/>
        </p:nvSpPr>
        <p:spPr>
          <a:xfrm>
            <a:off x="914401" y="1608846"/>
            <a:ext cx="1635162" cy="411844"/>
          </a:xfrm>
          <a:prstGeom prst="rect">
            <a:avLst/>
          </a:prstGeom>
        </p:spPr>
        <p:txBody>
          <a:bodyPr wrap="square" lIns="0" tIns="0" rIns="0" bIns="0" numCol="1" spcCol="360000" anchor="b">
            <a:spAutoFit/>
          </a:bodyPr>
          <a:lstStyle/>
          <a:p>
            <a:pPr>
              <a:lnSpc>
                <a:spcPct val="120000"/>
              </a:lnSpc>
            </a:pPr>
            <a:r>
              <a:rPr lang="en-US" sz="2400" b="0" i="0">
                <a:latin typeface="Open Sans Light" panose="020B0306030504020204" pitchFamily="34" charset="0"/>
                <a:ea typeface="Open Sans Light" panose="020B0306030504020204" pitchFamily="34" charset="0"/>
                <a:cs typeface="Open Sans Light" panose="020B0306030504020204" pitchFamily="34" charset="0"/>
              </a:rPr>
              <a:t>Thank you.</a:t>
            </a:r>
          </a:p>
        </p:txBody>
      </p:sp>
      <p:sp>
        <p:nvSpPr>
          <p:cNvPr id="6" name="Rectangle 5">
            <a:extLst>
              <a:ext uri="{FF2B5EF4-FFF2-40B4-BE49-F238E27FC236}">
                <a16:creationId xmlns:a16="http://schemas.microsoft.com/office/drawing/2014/main" id="{4CE4947A-CB3A-A94C-905C-225F0D2A3959}"/>
              </a:ext>
            </a:extLst>
          </p:cNvPr>
          <p:cNvSpPr/>
          <p:nvPr userDrawn="1"/>
        </p:nvSpPr>
        <p:spPr>
          <a:xfrm>
            <a:off x="4213860" y="3970363"/>
            <a:ext cx="7143588" cy="2538128"/>
          </a:xfrm>
          <a:prstGeom prst="rect">
            <a:avLst/>
          </a:prstGeom>
        </p:spPr>
        <p:txBody>
          <a:bodyPr wrap="square" numCol="2" spcCol="182880">
            <a:noAutofit/>
          </a:bodyPr>
          <a:lstStyle/>
          <a:p>
            <a:pPr>
              <a:spcAft>
                <a:spcPts val="400"/>
              </a:spcAft>
            </a:pPr>
            <a:r>
              <a:rPr lang="en-US" sz="700" dirty="0">
                <a:solidFill>
                  <a:schemeClr val="bg2">
                    <a:lumMod val="75000"/>
                  </a:schemeClr>
                </a:solidFill>
              </a:rPr>
              <a:t>Important notice</a:t>
            </a:r>
          </a:p>
          <a:p>
            <a:pPr>
              <a:spcAft>
                <a:spcPts val="400"/>
              </a:spcAft>
            </a:pPr>
            <a:r>
              <a:rPr lang="en-US" sz="700" dirty="0">
                <a:solidFill>
                  <a:schemeClr val="bg2">
                    <a:lumMod val="75000"/>
                  </a:schemeClr>
                </a:solidFill>
              </a:rPr>
              <a:t>This document has been prepared by Deloitte Consulting </a:t>
            </a:r>
            <a:r>
              <a:rPr lang="en-US" sz="700" dirty="0" err="1">
                <a:solidFill>
                  <a:schemeClr val="bg2">
                    <a:lumMod val="75000"/>
                  </a:schemeClr>
                </a:solidFill>
              </a:rPr>
              <a:t>S.r.l</a:t>
            </a:r>
            <a:r>
              <a:rPr lang="en-US" sz="700" dirty="0">
                <a:solidFill>
                  <a:schemeClr val="bg2">
                    <a:lumMod val="75000"/>
                  </a:schemeClr>
                </a:solidFill>
              </a:rPr>
              <a:t>. for the sole purpose of enabling the parties to whom it is addressed to evaluate the capabilities of Deloitte Consulting </a:t>
            </a:r>
            <a:r>
              <a:rPr lang="en-US" sz="700" dirty="0" err="1">
                <a:solidFill>
                  <a:schemeClr val="bg2">
                    <a:lumMod val="75000"/>
                  </a:schemeClr>
                </a:solidFill>
              </a:rPr>
              <a:t>S.r.l</a:t>
            </a:r>
            <a:r>
              <a:rPr lang="en-US" sz="700" dirty="0">
                <a:solidFill>
                  <a:schemeClr val="bg2">
                    <a:lumMod val="75000"/>
                  </a:schemeClr>
                </a:solidFill>
              </a:rPr>
              <a:t>. S.B. to supply the proposed services.</a:t>
            </a:r>
          </a:p>
          <a:p>
            <a:pPr>
              <a:spcAft>
                <a:spcPts val="400"/>
              </a:spcAft>
            </a:pPr>
            <a:r>
              <a:rPr lang="en-US" sz="700" dirty="0">
                <a:solidFill>
                  <a:schemeClr val="bg2">
                    <a:lumMod val="75000"/>
                  </a:schemeClr>
                </a:solidFill>
              </a:rPr>
              <a:t>The information contained in this document has been compiled by Deloitte Consulting </a:t>
            </a:r>
            <a:r>
              <a:rPr lang="en-US" sz="700" dirty="0" err="1">
                <a:solidFill>
                  <a:schemeClr val="bg2">
                    <a:lumMod val="75000"/>
                  </a:schemeClr>
                </a:solidFill>
              </a:rPr>
              <a:t>S.r.l</a:t>
            </a:r>
            <a:r>
              <a:rPr lang="en-US" sz="700" dirty="0">
                <a:solidFill>
                  <a:schemeClr val="bg2">
                    <a:lumMod val="75000"/>
                  </a:schemeClr>
                </a:solidFill>
              </a:rPr>
              <a:t>. S.B. and may include material obtained from various sources which have not been verified or audited. This document also contains material proprietary to Deloitte Consulting </a:t>
            </a:r>
            <a:r>
              <a:rPr lang="en-US" sz="700" dirty="0" err="1">
                <a:solidFill>
                  <a:schemeClr val="bg2">
                    <a:lumMod val="75000"/>
                  </a:schemeClr>
                </a:solidFill>
              </a:rPr>
              <a:t>S.r.l</a:t>
            </a:r>
            <a:r>
              <a:rPr lang="en-US" sz="700" dirty="0">
                <a:solidFill>
                  <a:schemeClr val="bg2">
                    <a:lumMod val="75000"/>
                  </a:schemeClr>
                </a:solidFill>
              </a:rPr>
              <a:t>. S.B.. Except in the general context of evaluating the capabilities of Deloitte Consulting </a:t>
            </a:r>
            <a:r>
              <a:rPr lang="en-US" sz="700" dirty="0" err="1">
                <a:solidFill>
                  <a:schemeClr val="bg2">
                    <a:lumMod val="75000"/>
                  </a:schemeClr>
                </a:solidFill>
              </a:rPr>
              <a:t>S.r.l</a:t>
            </a:r>
            <a:r>
              <a:rPr lang="en-US" sz="700" dirty="0">
                <a:solidFill>
                  <a:schemeClr val="bg2">
                    <a:lumMod val="75000"/>
                  </a:schemeClr>
                </a:solidFill>
              </a:rPr>
              <a:t>. S.B., no reliance may be placed for any purposes whatsoever on the contents of this document. No representation or warranty , express or implied, is given and no responsibility or liability is or will be accepted by or on behalf of Deloitte Consulting </a:t>
            </a:r>
            <a:r>
              <a:rPr lang="en-US" sz="700" dirty="0" err="1">
                <a:solidFill>
                  <a:schemeClr val="bg2">
                    <a:lumMod val="75000"/>
                  </a:schemeClr>
                </a:solidFill>
              </a:rPr>
              <a:t>S.r.l</a:t>
            </a:r>
            <a:r>
              <a:rPr lang="en-US" sz="700" dirty="0">
                <a:solidFill>
                  <a:schemeClr val="bg2">
                    <a:lumMod val="75000"/>
                  </a:schemeClr>
                </a:solidFill>
              </a:rPr>
              <a:t>. S.B. or by any of its partners, members, employees, agents or any other person as to the accuracy, completeness or correctness of the information contained in this document.</a:t>
            </a:r>
          </a:p>
          <a:p>
            <a:pPr>
              <a:spcAft>
                <a:spcPts val="400"/>
              </a:spcAft>
            </a:pPr>
            <a:r>
              <a:rPr lang="en-US" sz="700" dirty="0">
                <a:solidFill>
                  <a:schemeClr val="bg2">
                    <a:lumMod val="75000"/>
                  </a:schemeClr>
                </a:solidFill>
              </a:rPr>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a:t>
            </a:r>
          </a:p>
          <a:p>
            <a:pPr>
              <a:spcAft>
                <a:spcPts val="400"/>
              </a:spcAft>
            </a:pPr>
            <a:r>
              <a:rPr lang="en-US" sz="700" dirty="0">
                <a:solidFill>
                  <a:schemeClr val="bg2">
                    <a:lumMod val="75000"/>
                  </a:schemeClr>
                </a:solidFill>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spcAft>
                <a:spcPts val="400"/>
              </a:spcAft>
            </a:pPr>
            <a:r>
              <a:rPr lang="en-US" sz="700" dirty="0">
                <a:solidFill>
                  <a:schemeClr val="bg2">
                    <a:lumMod val="75000"/>
                  </a:schemeClr>
                </a:solidFill>
              </a:rPr>
              <a:t>Deloitte Consulting </a:t>
            </a:r>
            <a:r>
              <a:rPr lang="en-US" sz="700" dirty="0" err="1">
                <a:solidFill>
                  <a:schemeClr val="bg2">
                    <a:lumMod val="75000"/>
                  </a:schemeClr>
                </a:solidFill>
              </a:rPr>
              <a:t>S.r.l</a:t>
            </a:r>
            <a:r>
              <a:rPr lang="en-US" sz="700" dirty="0">
                <a:solidFill>
                  <a:schemeClr val="bg2">
                    <a:lumMod val="75000"/>
                  </a:schemeClr>
                </a:solidFill>
              </a:rPr>
              <a:t>. S.B., a company, registered in Italy with registered number 03945320962 and its registered office at Via </a:t>
            </a:r>
            <a:r>
              <a:rPr lang="en-US" sz="700" dirty="0" err="1">
                <a:solidFill>
                  <a:schemeClr val="bg2">
                    <a:lumMod val="75000"/>
                  </a:schemeClr>
                </a:solidFill>
              </a:rPr>
              <a:t>Tortona</a:t>
            </a:r>
            <a:r>
              <a:rPr lang="en-US" sz="700" dirty="0">
                <a:solidFill>
                  <a:schemeClr val="bg2">
                    <a:lumMod val="75000"/>
                  </a:schemeClr>
                </a:solidFill>
              </a:rPr>
              <a:t> no. 25, 20144, Milan, Italy, is an affiliate of Deloitte Central Mediterranean </a:t>
            </a:r>
            <a:r>
              <a:rPr lang="en-US" sz="700" dirty="0" err="1">
                <a:solidFill>
                  <a:schemeClr val="bg2">
                    <a:lumMod val="75000"/>
                  </a:schemeClr>
                </a:solidFill>
              </a:rPr>
              <a:t>S.r.l</a:t>
            </a:r>
            <a:r>
              <a:rPr lang="en-US" sz="700" dirty="0">
                <a:solidFill>
                  <a:schemeClr val="bg2">
                    <a:lumMod val="75000"/>
                  </a:schemeClr>
                </a:solidFill>
              </a:rPr>
              <a:t>., a company limited by guarantee registered in Italy with registered number 09599600963 and its registered office at Via </a:t>
            </a:r>
            <a:r>
              <a:rPr lang="en-US" sz="700" dirty="0" err="1">
                <a:solidFill>
                  <a:schemeClr val="bg2">
                    <a:lumMod val="75000"/>
                  </a:schemeClr>
                </a:solidFill>
              </a:rPr>
              <a:t>Tortona</a:t>
            </a:r>
            <a:r>
              <a:rPr lang="en-US" sz="700" dirty="0">
                <a:solidFill>
                  <a:schemeClr val="bg2">
                    <a:lumMod val="75000"/>
                  </a:schemeClr>
                </a:solidFill>
              </a:rPr>
              <a:t> no. 25, 20144, Milan, Italy.</a:t>
            </a:r>
          </a:p>
          <a:p>
            <a:pPr>
              <a:spcAft>
                <a:spcPts val="800"/>
              </a:spcAft>
            </a:pPr>
            <a:r>
              <a:rPr lang="en-US" sz="700" dirty="0">
                <a:solidFill>
                  <a:schemeClr val="bg2">
                    <a:lumMod val="75000"/>
                  </a:schemeClr>
                </a:solidFill>
              </a:rPr>
              <a:t>Deloitte Central Mediterranean </a:t>
            </a:r>
            <a:r>
              <a:rPr lang="en-US" sz="700" dirty="0" err="1">
                <a:solidFill>
                  <a:schemeClr val="bg2">
                    <a:lumMod val="75000"/>
                  </a:schemeClr>
                </a:solidFill>
              </a:rPr>
              <a:t>S.r.l</a:t>
            </a:r>
            <a:r>
              <a:rPr lang="en-US" sz="700" dirty="0">
                <a:solidFill>
                  <a:schemeClr val="bg2">
                    <a:lumMod val="75000"/>
                  </a:schemeClr>
                </a:solidFill>
              </a:rPr>
              <a:t>. is the affiliate for the territories of Italy, Greece and Malta of Deloitte NSE LLP, a UK limited liability partnership and a member firm of Deloitte </a:t>
            </a:r>
            <a:r>
              <a:rPr lang="en-US" sz="700" dirty="0" err="1">
                <a:solidFill>
                  <a:schemeClr val="bg2">
                    <a:lumMod val="75000"/>
                  </a:schemeClr>
                </a:solidFill>
              </a:rPr>
              <a:t>Touche</a:t>
            </a:r>
            <a:r>
              <a:rPr lang="en-US" sz="700" dirty="0">
                <a:solidFill>
                  <a:schemeClr val="bg2">
                    <a:lumMod val="75000"/>
                  </a:schemeClr>
                </a:solidFill>
              </a:rPr>
              <a:t> Tohmatsu Limited, a UK private company limited by guarantee (“DTTL”). DTTL and each of its member firms are legally separate and independent entities. DTTL, Deloitte NSE LLP and Deloitte Central Mediterranean </a:t>
            </a:r>
            <a:r>
              <a:rPr lang="en-US" sz="700" dirty="0" err="1">
                <a:solidFill>
                  <a:schemeClr val="bg2">
                    <a:lumMod val="75000"/>
                  </a:schemeClr>
                </a:solidFill>
              </a:rPr>
              <a:t>S.r.l</a:t>
            </a:r>
            <a:r>
              <a:rPr lang="en-US" sz="700" dirty="0">
                <a:solidFill>
                  <a:schemeClr val="bg2">
                    <a:lumMod val="75000"/>
                  </a:schemeClr>
                </a:solidFill>
              </a:rPr>
              <a:t>. do not provide services to clients. Please see </a:t>
            </a:r>
            <a:r>
              <a:rPr lang="en-US" sz="700" dirty="0">
                <a:solidFill>
                  <a:schemeClr val="bg2">
                    <a:lumMod val="75000"/>
                  </a:schemeClr>
                </a:solidFill>
                <a:hlinkClick r:id="rId2">
                  <a:extLst>
                    <a:ext uri="{A12FA001-AC4F-418D-AE19-62706E023703}">
                      <ahyp:hlinkClr xmlns:ahyp="http://schemas.microsoft.com/office/drawing/2018/hyperlinkcolor" val="tx"/>
                    </a:ext>
                  </a:extLst>
                </a:hlinkClick>
              </a:rPr>
              <a:t>www.deloitte.com/about </a:t>
            </a:r>
            <a:r>
              <a:rPr lang="en-US" sz="700" dirty="0">
                <a:solidFill>
                  <a:schemeClr val="bg2">
                    <a:lumMod val="75000"/>
                  </a:schemeClr>
                </a:solidFill>
              </a:rPr>
              <a:t>to learn more about our global network of member firms.</a:t>
            </a:r>
          </a:p>
          <a:p>
            <a:pPr>
              <a:spcAft>
                <a:spcPts val="400"/>
              </a:spcAft>
            </a:pPr>
            <a:r>
              <a:rPr lang="en-US" sz="700" dirty="0">
                <a:solidFill>
                  <a:schemeClr val="bg2">
                    <a:lumMod val="75000"/>
                  </a:schemeClr>
                </a:solidFill>
              </a:rPr>
              <a:t>© 2022 Deloitte Central Mediterranean. All rights reserved.</a:t>
            </a:r>
            <a:endParaRPr lang="en-US" sz="700" b="1" dirty="0">
              <a:solidFill>
                <a:schemeClr val="bg2">
                  <a:lumMod val="75000"/>
                </a:schemeClr>
              </a:solidFill>
              <a:latin typeface="Open Sans" charset="0"/>
              <a:ea typeface="Open Sans" charset="0"/>
              <a:cs typeface="Open Sans" charset="0"/>
            </a:endParaRPr>
          </a:p>
        </p:txBody>
      </p:sp>
      <p:pic>
        <p:nvPicPr>
          <p:cNvPr id="5" name="Picture 4" descr="Deloitte Digital logo">
            <a:extLst>
              <a:ext uri="{FF2B5EF4-FFF2-40B4-BE49-F238E27FC236}">
                <a16:creationId xmlns:a16="http://schemas.microsoft.com/office/drawing/2014/main" id="{03EF3131-2BE4-A841-97C7-D3A6A8E5D57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14401" y="572703"/>
            <a:ext cx="1073386" cy="494097"/>
          </a:xfrm>
          <a:prstGeom prst="rect">
            <a:avLst/>
          </a:prstGeom>
        </p:spPr>
      </p:pic>
    </p:spTree>
    <p:extLst>
      <p:ext uri="{BB962C8B-B14F-4D97-AF65-F5344CB8AC3E}">
        <p14:creationId xmlns:p14="http://schemas.microsoft.com/office/powerpoint/2010/main" val="27691022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able of Contents 2">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6E662E1-FCA5-E94A-B209-BC9EC689C3F9}"/>
              </a:ext>
            </a:extLst>
          </p:cNvPr>
          <p:cNvSpPr>
            <a:spLocks noGrp="1"/>
          </p:cNvSpPr>
          <p:nvPr>
            <p:ph type="pic" sz="quarter" idx="27" hasCustomPrompt="1"/>
          </p:nvPr>
        </p:nvSpPr>
        <p:spPr>
          <a:xfrm>
            <a:off x="0" y="1806575"/>
            <a:ext cx="6211888" cy="5051425"/>
          </a:xfrm>
        </p:spPr>
        <p:txBody>
          <a:bodyPr anchor="ctr"/>
          <a:lstStyle>
            <a:lvl1pPr algn="ctr">
              <a:defRPr/>
            </a:lvl1pPr>
          </a:lstStyle>
          <a:p>
            <a:r>
              <a:rPr lang="en-US" dirty="0"/>
              <a:t>Click to insert accent graphic or photo</a:t>
            </a:r>
          </a:p>
        </p:txBody>
      </p:sp>
      <p:sp>
        <p:nvSpPr>
          <p:cNvPr id="19" name="Title Placeholder 1">
            <a:extLst>
              <a:ext uri="{FF2B5EF4-FFF2-40B4-BE49-F238E27FC236}">
                <a16:creationId xmlns:a16="http://schemas.microsoft.com/office/drawing/2014/main" id="{55B89E7F-3C52-C64A-80BF-4FD0B4075AEE}"/>
              </a:ext>
            </a:extLst>
          </p:cNvPr>
          <p:cNvSpPr>
            <a:spLocks noGrp="1"/>
          </p:cNvSpPr>
          <p:nvPr>
            <p:ph type="title" hasCustomPrompt="1"/>
          </p:nvPr>
        </p:nvSpPr>
        <p:spPr bwMode="gray">
          <a:xfrm>
            <a:off x="6838043" y="1806575"/>
            <a:ext cx="4016405" cy="288490"/>
          </a:xfrm>
          <a:prstGeom prst="rect">
            <a:avLst/>
          </a:prstGeom>
        </p:spPr>
        <p:txBody>
          <a:bodyPr vert="horz" lIns="0" tIns="0" rIns="0" bIns="0" rtlCol="0" anchor="b" anchorCtr="0">
            <a:noAutofit/>
          </a:bodyPr>
          <a:lstStyle>
            <a:lvl1pPr>
              <a:defRPr>
                <a:solidFill>
                  <a:schemeClr val="tx1"/>
                </a:solidFill>
              </a:defRPr>
            </a:lvl1pPr>
          </a:lstStyle>
          <a:p>
            <a:r>
              <a:rPr lang="en-US" noProof="0" dirty="0"/>
              <a:t>Contents</a:t>
            </a:r>
          </a:p>
        </p:txBody>
      </p:sp>
      <p:sp>
        <p:nvSpPr>
          <p:cNvPr id="16" name="Text Placeholder 2">
            <a:extLst>
              <a:ext uri="{FF2B5EF4-FFF2-40B4-BE49-F238E27FC236}">
                <a16:creationId xmlns:a16="http://schemas.microsoft.com/office/drawing/2014/main" id="{F8E347ED-C7F6-A548-825E-FEA489210188}"/>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155838522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Grey bubb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9186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Two Lines - Cover Green">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3048719-E28A-7F4E-935C-0C9DA188F4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74" y="1785"/>
            <a:ext cx="12185651" cy="6854429"/>
          </a:xfrm>
          <a:prstGeom prst="rect">
            <a:avLst/>
          </a:prstGeom>
        </p:spPr>
      </p:pic>
      <p:sp>
        <p:nvSpPr>
          <p:cNvPr id="13" name="Text Placeholder 6">
            <a:extLst>
              <a:ext uri="{FF2B5EF4-FFF2-40B4-BE49-F238E27FC236}">
                <a16:creationId xmlns:a16="http://schemas.microsoft.com/office/drawing/2014/main" id="{D1E5D29E-0200-CB4E-AEA2-25802D4D76BB}"/>
              </a:ext>
            </a:extLst>
          </p:cNvPr>
          <p:cNvSpPr>
            <a:spLocks noGrp="1"/>
          </p:cNvSpPr>
          <p:nvPr>
            <p:ph type="body" sz="quarter" idx="11" hasCustomPrompt="1"/>
          </p:nvPr>
        </p:nvSpPr>
        <p:spPr>
          <a:xfrm>
            <a:off x="914400" y="3344276"/>
            <a:ext cx="4038600" cy="1070934"/>
          </a:xfrm>
          <a:prstGeom prst="rect">
            <a:avLst/>
          </a:prstGeom>
        </p:spPr>
        <p:txBody>
          <a:bodyPr>
            <a:spAutoFit/>
          </a:bodyPr>
          <a:lstStyle>
            <a:lvl1pPr marL="0" indent="0">
              <a:lnSpc>
                <a:spcPts val="4340"/>
              </a:lnSpc>
              <a:buFontTx/>
              <a:buNone/>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just a two sentence headline</a:t>
            </a:r>
          </a:p>
        </p:txBody>
      </p:sp>
      <p:sp>
        <p:nvSpPr>
          <p:cNvPr id="14" name="Text Placeholder 2">
            <a:extLst>
              <a:ext uri="{FF2B5EF4-FFF2-40B4-BE49-F238E27FC236}">
                <a16:creationId xmlns:a16="http://schemas.microsoft.com/office/drawing/2014/main" id="{93145191-828E-154B-9B0B-30DF0A04705F}"/>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5" name="Text Placeholder 10">
            <a:extLst>
              <a:ext uri="{FF2B5EF4-FFF2-40B4-BE49-F238E27FC236}">
                <a16:creationId xmlns:a16="http://schemas.microsoft.com/office/drawing/2014/main" id="{949542F8-16BF-7F44-AE75-7AD950342F3E}"/>
              </a:ext>
            </a:extLst>
          </p:cNvPr>
          <p:cNvSpPr>
            <a:spLocks noGrp="1"/>
          </p:cNvSpPr>
          <p:nvPr>
            <p:ph type="body" sz="quarter" idx="15" hasCustomPrompt="1"/>
          </p:nvPr>
        </p:nvSpPr>
        <p:spPr>
          <a:xfrm>
            <a:off x="914400" y="4694505"/>
            <a:ext cx="4038600" cy="263525"/>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3937503535"/>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0">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2BF23461-3BEF-E940-9273-FA4CEADDAEA4}"/>
              </a:ext>
            </a:extLst>
          </p:cNvPr>
          <p:cNvSpPr>
            <a:spLocks noGrp="1"/>
          </p:cNvSpPr>
          <p:nvPr>
            <p:ph type="title" hasCustomPrompt="1"/>
          </p:nvPr>
        </p:nvSpPr>
        <p:spPr bwMode="gray">
          <a:xfrm>
            <a:off x="914400" y="1079501"/>
            <a:ext cx="5105400" cy="584200"/>
          </a:xfrm>
          <a:prstGeom prst="rect">
            <a:avLst/>
          </a:prstGeom>
        </p:spPr>
        <p:txBody>
          <a:bodyPr vert="horz" lIns="0" tIns="0" rIns="0" bIns="0" rtlCol="0" anchor="t" anchorCtr="0">
            <a:noAutofit/>
          </a:bodyPr>
          <a:lstStyle>
            <a:lvl1pPr>
              <a:defRPr sz="3600"/>
            </a:lvl1pPr>
          </a:lstStyle>
          <a:p>
            <a:r>
              <a:rPr lang="en-US" noProof="0" dirty="0"/>
              <a:t>Contents</a:t>
            </a:r>
          </a:p>
        </p:txBody>
      </p:sp>
      <p:sp>
        <p:nvSpPr>
          <p:cNvPr id="12" name="Text Placeholder 2">
            <a:extLst>
              <a:ext uri="{FF2B5EF4-FFF2-40B4-BE49-F238E27FC236}">
                <a16:creationId xmlns:a16="http://schemas.microsoft.com/office/drawing/2014/main" id="{EE7EFA29-905A-6446-9806-8E14E7492994}"/>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13" name="Text Placeholder 2">
            <a:extLst>
              <a:ext uri="{FF2B5EF4-FFF2-40B4-BE49-F238E27FC236}">
                <a16:creationId xmlns:a16="http://schemas.microsoft.com/office/drawing/2014/main" id="{37C97AD3-DE78-594A-8B17-938746CC7D92}"/>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DELOITTE</a:t>
            </a:r>
          </a:p>
        </p:txBody>
      </p:sp>
      <p:pic>
        <p:nvPicPr>
          <p:cNvPr id="17" name="Picture 16" descr="A picture containing brass&#10;&#10;Description automatically generated">
            <a:extLst>
              <a:ext uri="{FF2B5EF4-FFF2-40B4-BE49-F238E27FC236}">
                <a16:creationId xmlns:a16="http://schemas.microsoft.com/office/drawing/2014/main" id="{D473996F-1650-2141-96E4-38623C646EB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8"/>
          <a:stretch/>
        </p:blipFill>
        <p:spPr>
          <a:xfrm>
            <a:off x="-7711" y="3428999"/>
            <a:ext cx="6032274" cy="3428999"/>
          </a:xfrm>
          <a:prstGeom prst="rect">
            <a:avLst/>
          </a:prstGeom>
        </p:spPr>
      </p:pic>
      <p:sp>
        <p:nvSpPr>
          <p:cNvPr id="18" name="Text Placeholder 7">
            <a:extLst>
              <a:ext uri="{FF2B5EF4-FFF2-40B4-BE49-F238E27FC236}">
                <a16:creationId xmlns:a16="http://schemas.microsoft.com/office/drawing/2014/main" id="{753D878E-B84D-2645-90FB-566601DB450D}"/>
              </a:ext>
            </a:extLst>
          </p:cNvPr>
          <p:cNvSpPr>
            <a:spLocks noGrp="1"/>
          </p:cNvSpPr>
          <p:nvPr>
            <p:ph type="body" sz="quarter" idx="14" hasCustomPrompt="1"/>
          </p:nvPr>
        </p:nvSpPr>
        <p:spPr>
          <a:xfrm>
            <a:off x="914400" y="1974514"/>
            <a:ext cx="30099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a:t>
            </a:r>
          </a:p>
        </p:txBody>
      </p:sp>
      <p:sp>
        <p:nvSpPr>
          <p:cNvPr id="14" name="Text Placeholder 7">
            <a:extLst>
              <a:ext uri="{FF2B5EF4-FFF2-40B4-BE49-F238E27FC236}">
                <a16:creationId xmlns:a16="http://schemas.microsoft.com/office/drawing/2014/main" id="{56460A22-E543-CD47-A25C-C6F98C57402F}"/>
              </a:ext>
            </a:extLst>
          </p:cNvPr>
          <p:cNvSpPr>
            <a:spLocks noGrp="1"/>
          </p:cNvSpPr>
          <p:nvPr>
            <p:ph type="body" sz="quarter" idx="27" hasCustomPrompt="1"/>
          </p:nvPr>
        </p:nvSpPr>
        <p:spPr>
          <a:xfrm>
            <a:off x="8033674" y="1196975"/>
            <a:ext cx="2743200" cy="288490"/>
          </a:xfrm>
          <a:prstGeom prst="rect">
            <a:avLst/>
          </a:prstGeom>
        </p:spPr>
        <p:txBody>
          <a:bodyPr>
            <a:noAutofit/>
          </a:bodyPr>
          <a:lstStyle>
            <a:lvl1pPr marL="0" indent="0">
              <a:buFontTx/>
              <a:buNone/>
              <a:defRPr sz="11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15" name="Text Placeholder 7">
            <a:extLst>
              <a:ext uri="{FF2B5EF4-FFF2-40B4-BE49-F238E27FC236}">
                <a16:creationId xmlns:a16="http://schemas.microsoft.com/office/drawing/2014/main" id="{F922F541-BABE-A744-9BC9-B5500189B89B}"/>
              </a:ext>
            </a:extLst>
          </p:cNvPr>
          <p:cNvSpPr>
            <a:spLocks noGrp="1"/>
          </p:cNvSpPr>
          <p:nvPr>
            <p:ph type="body" sz="quarter" idx="28" hasCustomPrompt="1"/>
          </p:nvPr>
        </p:nvSpPr>
        <p:spPr>
          <a:xfrm>
            <a:off x="8033674" y="1805722"/>
            <a:ext cx="2743200" cy="288490"/>
          </a:xfrm>
          <a:prstGeom prst="rect">
            <a:avLst/>
          </a:prstGeom>
        </p:spPr>
        <p:txBody>
          <a:bodyPr>
            <a:noAutofit/>
          </a:bodyPr>
          <a:lstStyle>
            <a:lvl1pPr marL="0" indent="0">
              <a:buFontTx/>
              <a:buNone/>
              <a:defRPr sz="11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Title</a:t>
            </a:r>
          </a:p>
        </p:txBody>
      </p:sp>
      <p:sp>
        <p:nvSpPr>
          <p:cNvPr id="16" name="Text Placeholder 7">
            <a:extLst>
              <a:ext uri="{FF2B5EF4-FFF2-40B4-BE49-F238E27FC236}">
                <a16:creationId xmlns:a16="http://schemas.microsoft.com/office/drawing/2014/main" id="{FAC847C7-3B8D-7C4C-9E95-D019A6F58220}"/>
              </a:ext>
            </a:extLst>
          </p:cNvPr>
          <p:cNvSpPr>
            <a:spLocks noGrp="1"/>
          </p:cNvSpPr>
          <p:nvPr>
            <p:ph type="body" sz="quarter" idx="29" hasCustomPrompt="1"/>
          </p:nvPr>
        </p:nvSpPr>
        <p:spPr>
          <a:xfrm>
            <a:off x="8033674" y="2414469"/>
            <a:ext cx="2743200" cy="288490"/>
          </a:xfrm>
          <a:prstGeom prst="rect">
            <a:avLst/>
          </a:prstGeom>
        </p:spPr>
        <p:txBody>
          <a:bodyPr>
            <a:noAutofit/>
          </a:bodyPr>
          <a:lstStyle>
            <a:lvl1pPr marL="0" indent="0">
              <a:buFontTx/>
              <a:buNone/>
              <a:defRPr sz="11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19" name="Text Placeholder 7">
            <a:extLst>
              <a:ext uri="{FF2B5EF4-FFF2-40B4-BE49-F238E27FC236}">
                <a16:creationId xmlns:a16="http://schemas.microsoft.com/office/drawing/2014/main" id="{176432D2-395B-B941-AE14-E0F2D930260E}"/>
              </a:ext>
            </a:extLst>
          </p:cNvPr>
          <p:cNvSpPr>
            <a:spLocks noGrp="1"/>
          </p:cNvSpPr>
          <p:nvPr>
            <p:ph type="body" sz="quarter" idx="30" hasCustomPrompt="1"/>
          </p:nvPr>
        </p:nvSpPr>
        <p:spPr>
          <a:xfrm>
            <a:off x="8033674" y="3023216"/>
            <a:ext cx="2743200" cy="288490"/>
          </a:xfrm>
          <a:prstGeom prst="rect">
            <a:avLst/>
          </a:prstGeom>
        </p:spPr>
        <p:txBody>
          <a:bodyPr>
            <a:noAutofit/>
          </a:bodyPr>
          <a:lstStyle>
            <a:lvl1pPr marL="0" indent="0">
              <a:buFontTx/>
              <a:buNone/>
              <a:defRPr sz="11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0" name="Text Placeholder 7">
            <a:extLst>
              <a:ext uri="{FF2B5EF4-FFF2-40B4-BE49-F238E27FC236}">
                <a16:creationId xmlns:a16="http://schemas.microsoft.com/office/drawing/2014/main" id="{E4580642-5877-C248-80DE-31E6A2092128}"/>
              </a:ext>
            </a:extLst>
          </p:cNvPr>
          <p:cNvSpPr>
            <a:spLocks noGrp="1"/>
          </p:cNvSpPr>
          <p:nvPr>
            <p:ph type="body" sz="quarter" idx="31" hasCustomPrompt="1"/>
          </p:nvPr>
        </p:nvSpPr>
        <p:spPr>
          <a:xfrm>
            <a:off x="8033674" y="3631963"/>
            <a:ext cx="2743200" cy="288490"/>
          </a:xfrm>
          <a:prstGeom prst="rect">
            <a:avLst/>
          </a:prstGeom>
        </p:spPr>
        <p:txBody>
          <a:bodyPr>
            <a:noAutofit/>
          </a:bodyPr>
          <a:lstStyle>
            <a:lvl1pPr marL="0" indent="0">
              <a:buFontTx/>
              <a:buNone/>
              <a:defRPr sz="11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1" name="Text Placeholder 7">
            <a:extLst>
              <a:ext uri="{FF2B5EF4-FFF2-40B4-BE49-F238E27FC236}">
                <a16:creationId xmlns:a16="http://schemas.microsoft.com/office/drawing/2014/main" id="{562FA6D5-CFC9-0B41-906A-44F85B60155D}"/>
              </a:ext>
            </a:extLst>
          </p:cNvPr>
          <p:cNvSpPr>
            <a:spLocks noGrp="1"/>
          </p:cNvSpPr>
          <p:nvPr>
            <p:ph type="body" sz="quarter" idx="32" hasCustomPrompt="1"/>
          </p:nvPr>
        </p:nvSpPr>
        <p:spPr>
          <a:xfrm>
            <a:off x="8033674" y="4240710"/>
            <a:ext cx="2743200" cy="288490"/>
          </a:xfrm>
          <a:prstGeom prst="rect">
            <a:avLst/>
          </a:prstGeom>
        </p:spPr>
        <p:txBody>
          <a:bodyPr>
            <a:noAutofit/>
          </a:bodyPr>
          <a:lstStyle>
            <a:lvl1pPr marL="0" indent="0">
              <a:buFontTx/>
              <a:buNone/>
              <a:defRPr sz="11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2" name="Text Placeholder 33">
            <a:extLst>
              <a:ext uri="{FF2B5EF4-FFF2-40B4-BE49-F238E27FC236}">
                <a16:creationId xmlns:a16="http://schemas.microsoft.com/office/drawing/2014/main" id="{C7533117-F78D-B940-B7CB-FB8B16CF6B87}"/>
              </a:ext>
            </a:extLst>
          </p:cNvPr>
          <p:cNvSpPr>
            <a:spLocks noGrp="1"/>
          </p:cNvSpPr>
          <p:nvPr>
            <p:ph type="body" sz="quarter" idx="24" hasCustomPrompt="1"/>
          </p:nvPr>
        </p:nvSpPr>
        <p:spPr>
          <a:xfrm>
            <a:off x="7477125" y="1215295"/>
            <a:ext cx="414660" cy="3313905"/>
          </a:xfrm>
        </p:spPr>
        <p:txBody>
          <a:bodyPr>
            <a:noAutofit/>
          </a:bodyPr>
          <a:lstStyle>
            <a:lvl1pPr>
              <a:lnSpc>
                <a:spcPts val="1350"/>
              </a:lnSpc>
              <a:defRPr sz="15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1</a:t>
            </a:r>
          </a:p>
          <a:p>
            <a:pPr lvl="0"/>
            <a:endParaRPr lang="en-US" dirty="0"/>
          </a:p>
          <a:p>
            <a:pPr lvl="0"/>
            <a:r>
              <a:rPr lang="en-US" dirty="0"/>
              <a:t>02</a:t>
            </a:r>
          </a:p>
          <a:p>
            <a:pPr lvl="0"/>
            <a:endParaRPr lang="en-US" dirty="0"/>
          </a:p>
          <a:p>
            <a:pPr lvl="0"/>
            <a:r>
              <a:rPr lang="en-US" dirty="0"/>
              <a:t>03</a:t>
            </a:r>
          </a:p>
          <a:p>
            <a:pPr lvl="0"/>
            <a:endParaRPr lang="en-US" dirty="0"/>
          </a:p>
          <a:p>
            <a:pPr lvl="0"/>
            <a:r>
              <a:rPr lang="en-US" dirty="0"/>
              <a:t>04</a:t>
            </a:r>
          </a:p>
          <a:p>
            <a:pPr lvl="0"/>
            <a:endParaRPr lang="en-US" dirty="0"/>
          </a:p>
          <a:p>
            <a:pPr lvl="0"/>
            <a:r>
              <a:rPr lang="en-US" dirty="0"/>
              <a:t>05</a:t>
            </a:r>
          </a:p>
          <a:p>
            <a:pPr lvl="0"/>
            <a:endParaRPr lang="en-US" dirty="0"/>
          </a:p>
          <a:p>
            <a:pPr lvl="0"/>
            <a:r>
              <a:rPr lang="en-US" dirty="0"/>
              <a:t>06</a:t>
            </a:r>
          </a:p>
        </p:txBody>
      </p:sp>
    </p:spTree>
    <p:extLst>
      <p:ext uri="{BB962C8B-B14F-4D97-AF65-F5344CB8AC3E}">
        <p14:creationId xmlns:p14="http://schemas.microsoft.com/office/powerpoint/2010/main" val="2473593544"/>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1079500"/>
            <a:ext cx="5105400" cy="668019"/>
          </a:xfrm>
          <a:prstGeom prst="rect">
            <a:avLst/>
          </a:prstGeom>
        </p:spPr>
        <p:txBody>
          <a:bodyPr vert="horz" lIns="0" tIns="0" rIns="0" bIns="0" rtlCol="0" anchor="t" anchorCtr="0">
            <a:noAutofit/>
          </a:bodyPr>
          <a:lstStyle/>
          <a:p>
            <a:r>
              <a:rPr lang="en-US" noProof="0" dirty="0"/>
              <a:t>Contents</a:t>
            </a:r>
          </a:p>
        </p:txBody>
      </p:sp>
      <p:sp>
        <p:nvSpPr>
          <p:cNvPr id="14" name="Text Placeholder 2">
            <a:extLst>
              <a:ext uri="{FF2B5EF4-FFF2-40B4-BE49-F238E27FC236}">
                <a16:creationId xmlns:a16="http://schemas.microsoft.com/office/drawing/2014/main" id="{BA896354-18D4-8240-A168-914A16A9A061}"/>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
        <p:nvSpPr>
          <p:cNvPr id="18" name="Picture Placeholder 2">
            <a:extLst>
              <a:ext uri="{FF2B5EF4-FFF2-40B4-BE49-F238E27FC236}">
                <a16:creationId xmlns:a16="http://schemas.microsoft.com/office/drawing/2014/main" id="{C48B862D-B297-6A4D-9B1B-307A18818A18}"/>
              </a:ext>
            </a:extLst>
          </p:cNvPr>
          <p:cNvSpPr>
            <a:spLocks noGrp="1"/>
          </p:cNvSpPr>
          <p:nvPr>
            <p:ph type="pic" sz="quarter" idx="27" hasCustomPrompt="1"/>
          </p:nvPr>
        </p:nvSpPr>
        <p:spPr>
          <a:xfrm>
            <a:off x="5980112" y="1806575"/>
            <a:ext cx="6211888" cy="5051425"/>
          </a:xfrm>
        </p:spPr>
        <p:txBody>
          <a:bodyPr anchor="ctr"/>
          <a:lstStyle>
            <a:lvl1pPr algn="ctr">
              <a:defRPr/>
            </a:lvl1pPr>
          </a:lstStyle>
          <a:p>
            <a:r>
              <a:rPr lang="en-US" dirty="0"/>
              <a:t>Click to insert accent graphic or photo</a:t>
            </a:r>
          </a:p>
        </p:txBody>
      </p:sp>
    </p:spTree>
    <p:extLst>
      <p:ext uri="{BB962C8B-B14F-4D97-AF65-F5344CB8AC3E}">
        <p14:creationId xmlns:p14="http://schemas.microsoft.com/office/powerpoint/2010/main" val="247183517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able of Contents 2">
    <p:bg>
      <p:bgPr>
        <a:solidFill>
          <a:schemeClr val="bg1"/>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205D4B25-1F89-D949-A128-6414FDFFC4E9}"/>
              </a:ext>
            </a:extLst>
          </p:cNvPr>
          <p:cNvSpPr>
            <a:spLocks noGrp="1"/>
          </p:cNvSpPr>
          <p:nvPr>
            <p:ph type="pic" sz="quarter" idx="12" hasCustomPrompt="1"/>
          </p:nvPr>
        </p:nvSpPr>
        <p:spPr>
          <a:xfrm>
            <a:off x="0" y="0"/>
            <a:ext cx="12192000" cy="6858000"/>
          </a:xfrm>
        </p:spPr>
        <p:txBody>
          <a:bodyPr rIns="274320" anchor="ctr"/>
          <a:lstStyle>
            <a:lvl1pPr algn="r">
              <a:defRPr/>
            </a:lvl1pPr>
          </a:lstStyle>
          <a:p>
            <a:r>
              <a:rPr lang="en-US" dirty="0"/>
              <a:t>Click, drag and drop, or paste in </a:t>
            </a:r>
            <a:br>
              <a:rPr lang="en-US" dirty="0"/>
            </a:br>
            <a:r>
              <a:rPr lang="en-US" dirty="0"/>
              <a:t>your full-bleed background image here. </a:t>
            </a:r>
            <a:br>
              <a:rPr lang="en-US" dirty="0"/>
            </a:br>
            <a:r>
              <a:rPr lang="en-US" dirty="0"/>
              <a:t>When done, right-click and “Send to back”</a:t>
            </a:r>
          </a:p>
        </p:txBody>
      </p:sp>
      <p:sp>
        <p:nvSpPr>
          <p:cNvPr id="19" name="Title Placeholder 1">
            <a:extLst>
              <a:ext uri="{FF2B5EF4-FFF2-40B4-BE49-F238E27FC236}">
                <a16:creationId xmlns:a16="http://schemas.microsoft.com/office/drawing/2014/main" id="{55B89E7F-3C52-C64A-80BF-4FD0B4075AEE}"/>
              </a:ext>
            </a:extLst>
          </p:cNvPr>
          <p:cNvSpPr>
            <a:spLocks noGrp="1"/>
          </p:cNvSpPr>
          <p:nvPr>
            <p:ph type="title" hasCustomPrompt="1"/>
          </p:nvPr>
        </p:nvSpPr>
        <p:spPr bwMode="gray">
          <a:xfrm>
            <a:off x="936595" y="3268846"/>
            <a:ext cx="4016405" cy="160154"/>
          </a:xfrm>
          <a:prstGeom prst="rect">
            <a:avLst/>
          </a:prstGeom>
        </p:spPr>
        <p:txBody>
          <a:bodyPr vert="horz" lIns="0" tIns="0" rIns="0" bIns="0" rtlCol="0" anchor="t" anchorCtr="0">
            <a:noAutofit/>
          </a:bodyPr>
          <a:lstStyle>
            <a:lvl1pPr>
              <a:defRPr sz="1400" spc="300">
                <a:solidFill>
                  <a:schemeClr val="bg1"/>
                </a:solidFill>
              </a:defRPr>
            </a:lvl1pPr>
          </a:lstStyle>
          <a:p>
            <a:r>
              <a:rPr lang="en-US" noProof="0" dirty="0"/>
              <a:t>INTRODUCTION</a:t>
            </a:r>
          </a:p>
        </p:txBody>
      </p:sp>
      <p:sp>
        <p:nvSpPr>
          <p:cNvPr id="21" name="Text Placeholder 3">
            <a:extLst>
              <a:ext uri="{FF2B5EF4-FFF2-40B4-BE49-F238E27FC236}">
                <a16:creationId xmlns:a16="http://schemas.microsoft.com/office/drawing/2014/main" id="{56C6E8BA-ACB9-3145-A61B-6B8F9D4089E0}"/>
              </a:ext>
            </a:extLst>
          </p:cNvPr>
          <p:cNvSpPr>
            <a:spLocks noGrp="1"/>
          </p:cNvSpPr>
          <p:nvPr>
            <p:ph type="body" sz="quarter" idx="15" hasCustomPrompt="1"/>
          </p:nvPr>
        </p:nvSpPr>
        <p:spPr>
          <a:xfrm>
            <a:off x="914400" y="4488605"/>
            <a:ext cx="6286500" cy="1254469"/>
          </a:xfrm>
        </p:spPr>
        <p:txBody>
          <a:bodyPr>
            <a:noAutofit/>
          </a:bodyPr>
          <a:lstStyle>
            <a:lvl1pPr marL="0" marR="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sz="1400">
                <a:solidFill>
                  <a:schemeClr val="bg1"/>
                </a:solidFill>
              </a:defRPr>
            </a:lvl1pPr>
          </a:lstStyle>
          <a:p>
            <a:pPr lvl="0"/>
            <a:r>
              <a:rPr lang="en-US" dirty="0" err="1"/>
              <a:t>Vivamus</a:t>
            </a:r>
            <a:r>
              <a:rPr lang="en-US" dirty="0"/>
              <a:t> integer non </a:t>
            </a:r>
            <a:r>
              <a:rPr lang="en-US" dirty="0" err="1"/>
              <a:t>suscipit</a:t>
            </a:r>
            <a:r>
              <a:rPr lang="en-US" dirty="0"/>
              <a:t> </a:t>
            </a:r>
            <a:r>
              <a:rPr lang="en-US" dirty="0" err="1"/>
              <a:t>taciti</a:t>
            </a:r>
            <a:r>
              <a:rPr lang="en-US" dirty="0"/>
              <a:t> </a:t>
            </a:r>
            <a:r>
              <a:rPr lang="en-US" dirty="0" err="1"/>
              <a:t>mus</a:t>
            </a:r>
            <a:r>
              <a:rPr lang="en-US" dirty="0"/>
              <a:t> </a:t>
            </a:r>
            <a:r>
              <a:rPr lang="en-US" dirty="0" err="1"/>
              <a:t>etiam</a:t>
            </a:r>
            <a:r>
              <a:rPr lang="en-US" dirty="0"/>
              <a:t> at </a:t>
            </a:r>
            <a:r>
              <a:rPr lang="en-US" dirty="0" err="1"/>
              <a:t>primis</a:t>
            </a:r>
            <a:r>
              <a:rPr lang="en-US" dirty="0"/>
              <a:t> </a:t>
            </a:r>
            <a:r>
              <a:rPr lang="en-US" dirty="0" err="1"/>
              <a:t>tempor</a:t>
            </a:r>
            <a:r>
              <a:rPr lang="en-US" dirty="0"/>
              <a:t> </a:t>
            </a:r>
            <a:r>
              <a:rPr lang="en-US" dirty="0" err="1"/>
              <a:t>sagittis</a:t>
            </a:r>
            <a:r>
              <a:rPr lang="en-US" dirty="0"/>
              <a:t> sit, </a:t>
            </a:r>
            <a:r>
              <a:rPr lang="en-US" dirty="0" err="1"/>
              <a:t>euismod</a:t>
            </a:r>
            <a:r>
              <a:rPr lang="en-US" dirty="0"/>
              <a:t> libero </a:t>
            </a:r>
            <a:r>
              <a:rPr lang="en-US" dirty="0" err="1"/>
              <a: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 </a:t>
            </a:r>
            <a:r>
              <a:rPr lang="en-US" dirty="0" err="1"/>
              <a:t>eleifend</a:t>
            </a:r>
            <a:r>
              <a:rPr lang="en-US" dirty="0"/>
              <a:t> </a:t>
            </a:r>
            <a:r>
              <a:rPr lang="en-US" dirty="0" err="1"/>
              <a:t>lectus</a:t>
            </a:r>
            <a:r>
              <a:rPr lang="en-US" dirty="0"/>
              <a:t> </a:t>
            </a:r>
            <a:r>
              <a:rPr lang="en-US" dirty="0" err="1"/>
              <a:t>nullam</a:t>
            </a:r>
            <a:r>
              <a:rPr lang="en-US" dirty="0"/>
              <a:t> </a:t>
            </a:r>
            <a:r>
              <a:rPr lang="en-US" dirty="0" err="1"/>
              <a:t>dapibus</a:t>
            </a:r>
            <a:r>
              <a:rPr lang="en-US" dirty="0"/>
              <a:t> </a:t>
            </a:r>
            <a:r>
              <a:rPr lang="en-US" dirty="0" err="1"/>
              <a:t>netus</a:t>
            </a:r>
            <a:r>
              <a:rPr lang="en-US" dirty="0"/>
              <a:t> </a:t>
            </a:r>
            <a:r>
              <a:rPr lang="en-US" dirty="0" err="1"/>
              <a:t>feugiat</a:t>
            </a:r>
            <a:r>
              <a:rPr lang="en-US" dirty="0"/>
              <a:t> </a:t>
            </a:r>
            <a:r>
              <a:rPr lang="en-US" dirty="0" err="1"/>
              <a:t>curae</a:t>
            </a:r>
            <a:r>
              <a:rPr lang="en-US" dirty="0"/>
              <a:t> </a:t>
            </a:r>
            <a:r>
              <a:rPr lang="en-US" dirty="0" err="1"/>
              <a:t>curabitur</a:t>
            </a:r>
            <a:r>
              <a:rPr lang="en-US" dirty="0"/>
              <a:t> </a:t>
            </a:r>
            <a:r>
              <a:rPr lang="en-US" dirty="0" err="1"/>
              <a:t>estfacilisi</a:t>
            </a:r>
            <a:r>
              <a:rPr lang="en-US" dirty="0"/>
              <a:t> </a:t>
            </a:r>
            <a:r>
              <a:rPr lang="en-US" dirty="0" err="1"/>
              <a:t>aptent</a:t>
            </a:r>
            <a:r>
              <a:rPr lang="en-US" dirty="0"/>
              <a:t> </a:t>
            </a:r>
            <a:r>
              <a:rPr lang="en-US" dirty="0" err="1"/>
              <a:t>elementum</a:t>
            </a:r>
            <a:r>
              <a:rPr lang="en-US" dirty="0"/>
              <a:t> </a:t>
            </a:r>
            <a:r>
              <a:rPr lang="en-US" dirty="0" err="1"/>
              <a:t>felis</a:t>
            </a:r>
            <a:r>
              <a:rPr lang="en-US" dirty="0"/>
              <a:t> </a:t>
            </a:r>
            <a:r>
              <a:rPr lang="en-US" dirty="0" err="1"/>
              <a:t>blandit</a:t>
            </a:r>
            <a:r>
              <a:rPr lang="en-US" dirty="0"/>
              <a:t> cursus gravida sociis </a:t>
            </a:r>
            <a:r>
              <a:rPr lang="en-US" dirty="0" err="1"/>
              <a:t>erat</a:t>
            </a:r>
            <a:r>
              <a:rPr lang="en-US" dirty="0"/>
              <a:t> ante.</a:t>
            </a:r>
          </a:p>
        </p:txBody>
      </p:sp>
      <p:sp>
        <p:nvSpPr>
          <p:cNvPr id="5" name="Text Placeholder 4">
            <a:extLst>
              <a:ext uri="{FF2B5EF4-FFF2-40B4-BE49-F238E27FC236}">
                <a16:creationId xmlns:a16="http://schemas.microsoft.com/office/drawing/2014/main" id="{78986582-CF37-1345-8B01-1F76DAF6D8B9}"/>
              </a:ext>
            </a:extLst>
          </p:cNvPr>
          <p:cNvSpPr>
            <a:spLocks noGrp="1"/>
          </p:cNvSpPr>
          <p:nvPr>
            <p:ph type="body" sz="quarter" idx="16"/>
          </p:nvPr>
        </p:nvSpPr>
        <p:spPr>
          <a:xfrm>
            <a:off x="914400" y="3687763"/>
            <a:ext cx="6286500" cy="539750"/>
          </a:xfrm>
        </p:spPr>
        <p:txBody>
          <a:bodyPr>
            <a:noAutofit/>
          </a:bodyPr>
          <a:lstStyle>
            <a:lvl1pPr>
              <a:defRPr sz="24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11" name="Text Placeholder 2">
            <a:extLst>
              <a:ext uri="{FF2B5EF4-FFF2-40B4-BE49-F238E27FC236}">
                <a16:creationId xmlns:a16="http://schemas.microsoft.com/office/drawing/2014/main" id="{93578B02-E8DD-4147-AE8D-62D20DF6A911}"/>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This is a breadcrumb to identify section titles</a:t>
            </a:r>
          </a:p>
        </p:txBody>
      </p:sp>
    </p:spTree>
    <p:extLst>
      <p:ext uri="{BB962C8B-B14F-4D97-AF65-F5344CB8AC3E}">
        <p14:creationId xmlns:p14="http://schemas.microsoft.com/office/powerpoint/2010/main" val="13119850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etings">
    <p:spTree>
      <p:nvGrpSpPr>
        <p:cNvPr id="1" name=""/>
        <p:cNvGrpSpPr/>
        <p:nvPr/>
      </p:nvGrpSpPr>
      <p:grpSpPr>
        <a:xfrm>
          <a:off x="0" y="0"/>
          <a:ext cx="0" cy="0"/>
          <a:chOff x="0" y="0"/>
          <a:chExt cx="0" cy="0"/>
        </a:xfrm>
      </p:grpSpPr>
      <p:sp>
        <p:nvSpPr>
          <p:cNvPr id="30" name="Picture Placeholder 2">
            <a:extLst>
              <a:ext uri="{FF2B5EF4-FFF2-40B4-BE49-F238E27FC236}">
                <a16:creationId xmlns:a16="http://schemas.microsoft.com/office/drawing/2014/main" id="{876DE241-E927-1942-97CE-092273F4A24F}"/>
              </a:ext>
            </a:extLst>
          </p:cNvPr>
          <p:cNvSpPr>
            <a:spLocks noGrp="1"/>
          </p:cNvSpPr>
          <p:nvPr>
            <p:ph type="pic" sz="quarter" idx="22" hasCustomPrompt="1"/>
          </p:nvPr>
        </p:nvSpPr>
        <p:spPr>
          <a:xfrm>
            <a:off x="5105400" y="0"/>
            <a:ext cx="7086600" cy="1066800"/>
          </a:xfrm>
        </p:spPr>
        <p:txBody>
          <a:bodyPr wrap="none" lIns="91440" anchor="ctr" anchorCtr="0"/>
          <a:lstStyle>
            <a:lvl1pPr>
              <a:defRPr sz="1200">
                <a:solidFill>
                  <a:schemeClr val="tx1"/>
                </a:solidFill>
              </a:defRPr>
            </a:lvl1pPr>
          </a:lstStyle>
          <a:p>
            <a:r>
              <a:rPr lang="en-US" dirty="0"/>
              <a:t>Click to insert accent graphic or photo</a:t>
            </a:r>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me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onsectetur</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dipiscing</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elit</a:t>
            </a:r>
            <a:r>
              <a:rPr kumimoji="0" lang="en-US" sz="1000" b="0" i="0" u="none" strike="noStrike" kern="1200" cap="none" spc="0" normalizeH="0" baseline="0" noProof="0" dirty="0">
                <a:ln>
                  <a:noFill/>
                </a:ln>
                <a:solidFill>
                  <a:srgbClr val="000000"/>
                </a:solidFill>
                <a:effectLst/>
                <a:uLnTx/>
                <a:uFillTx/>
                <a:latin typeface="+mn-lt"/>
                <a:ea typeface="+mn-ea"/>
                <a:cs typeface="+mn-cs"/>
              </a:rPr>
              <a:t>. Integer </a:t>
            </a:r>
            <a:r>
              <a:rPr kumimoji="0" lang="en-US" sz="1000" b="0" i="0" u="none" strike="noStrike" kern="1200" cap="none" spc="0" normalizeH="0" baseline="0" noProof="0" dirty="0" err="1">
                <a:ln>
                  <a:noFill/>
                </a:ln>
                <a:solidFill>
                  <a:srgbClr val="000000"/>
                </a:solidFill>
                <a:effectLst/>
                <a:uLnTx/>
                <a:uFillTx/>
                <a:latin typeface="+mn-lt"/>
                <a:ea typeface="+mn-ea"/>
                <a:cs typeface="+mn-cs"/>
              </a:rPr>
              <a:t>nec</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odio</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dirty="0">
                <a:ln>
                  <a:noFill/>
                </a:ln>
                <a:solidFill>
                  <a:srgbClr val="000000"/>
                </a:solidFill>
                <a:effectLst/>
                <a:uLnTx/>
                <a:uFillTx/>
                <a:latin typeface="+mn-lt"/>
                <a:ea typeface="+mn-ea"/>
                <a:cs typeface="+mn-cs"/>
              </a:rPr>
              <a:t> libero. Sed cursus ante </a:t>
            </a:r>
            <a:r>
              <a:rPr kumimoji="0" lang="en-US" sz="1000" b="0" i="0" u="none" strike="noStrike" kern="1200" cap="none" spc="0" normalizeH="0" baseline="0" noProof="0" dirty="0" err="1">
                <a:ln>
                  <a:noFill/>
                </a:ln>
                <a:solidFill>
                  <a:srgbClr val="000000"/>
                </a:solidFill>
                <a:effectLst/>
                <a:uLnTx/>
                <a:uFillTx/>
                <a:latin typeface="+mn-lt"/>
                <a:ea typeface="+mn-ea"/>
                <a:cs typeface="+mn-cs"/>
              </a:rPr>
              <a:t>dapibus</a:t>
            </a:r>
            <a:r>
              <a:rPr kumimoji="0" lang="en-US" sz="1000" b="0" i="0" u="none" strike="noStrike" kern="1200" cap="none" spc="0" normalizeH="0" baseline="0" noProof="0" dirty="0">
                <a:ln>
                  <a:noFill/>
                </a:ln>
                <a:solidFill>
                  <a:srgbClr val="000000"/>
                </a:solidFill>
                <a:effectLst/>
                <a:uLnTx/>
                <a:uFillTx/>
                <a:latin typeface="+mn-lt"/>
                <a:ea typeface="+mn-ea"/>
                <a:cs typeface="+mn-cs"/>
              </a:rPr>
              <a:t> diam. Sed nisi. </a:t>
            </a:r>
            <a:r>
              <a:rPr kumimoji="0" lang="en-US" sz="1000" b="0" i="0" u="none" strike="noStrike" kern="1200" cap="none" spc="0" normalizeH="0" baseline="0" noProof="0" dirty="0" err="1">
                <a:ln>
                  <a:noFill/>
                </a:ln>
                <a:solidFill>
                  <a:srgbClr val="000000"/>
                </a:solidFill>
                <a:effectLst/>
                <a:uLnTx/>
                <a:uFillTx/>
                <a:latin typeface="+mn-lt"/>
                <a:ea typeface="+mn-ea"/>
                <a:cs typeface="+mn-cs"/>
              </a:rPr>
              <a:t>Nulla</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qui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sem</a:t>
            </a:r>
            <a:r>
              <a:rPr kumimoji="0" lang="en-US" sz="1000" b="0" i="0" u="none" strike="noStrike" kern="1200" cap="none" spc="0" normalizeH="0" baseline="0" noProof="0" dirty="0">
                <a:ln>
                  <a:noFill/>
                </a:ln>
                <a:solidFill>
                  <a:srgbClr val="000000"/>
                </a:solidFill>
                <a:effectLst/>
                <a:uLnTx/>
                <a:uFillTx/>
                <a:latin typeface="+mn-lt"/>
                <a:ea typeface="+mn-ea"/>
                <a:cs typeface="+mn-cs"/>
              </a:rPr>
              <a:t>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ibh</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imperdiet</a:t>
            </a:r>
            <a:r>
              <a:rPr kumimoji="0" lang="en-US" sz="1000" b="0" i="0" u="none" strike="noStrike" kern="1200" cap="none" spc="0" normalizeH="0" baseline="0" noProof="0" dirty="0">
                <a:ln>
                  <a:noFill/>
                </a:ln>
                <a:solidFill>
                  <a:srgbClr val="000000"/>
                </a:solidFill>
                <a:effectLst/>
                <a:uLnTx/>
                <a:uFillTx/>
                <a:latin typeface="+mn-lt"/>
                <a:ea typeface="+mn-ea"/>
                <a:cs typeface="+mn-cs"/>
              </a:rPr>
              <a:t>. Duis </a:t>
            </a:r>
            <a:r>
              <a:rPr kumimoji="0" lang="en-US" sz="1000" b="0" i="0" u="none" strike="noStrike" kern="1200" cap="none" spc="0" normalizeH="0" baseline="0" noProof="0" dirty="0" err="1">
                <a:ln>
                  <a:noFill/>
                </a:ln>
                <a:solidFill>
                  <a:srgbClr val="000000"/>
                </a:solidFill>
                <a:effectLst/>
                <a:uLnTx/>
                <a:uFillTx/>
                <a:latin typeface="+mn-lt"/>
                <a:ea typeface="+mn-ea"/>
                <a:cs typeface="+mn-cs"/>
              </a:rPr>
              <a:t>sagittis</a:t>
            </a:r>
            <a:r>
              <a:rPr kumimoji="0" lang="en-US" sz="1000" b="0" i="0" u="none" strike="noStrike" kern="1200" cap="none" spc="0" normalizeH="0" baseline="0" noProof="0" dirty="0">
                <a:ln>
                  <a:noFill/>
                </a:ln>
                <a:solidFill>
                  <a:srgbClr val="000000"/>
                </a:solidFill>
                <a:effectLst/>
                <a:uLnTx/>
                <a:uFillTx/>
                <a:latin typeface="+mn-lt"/>
                <a:ea typeface="+mn-ea"/>
                <a:cs typeface="+mn-cs"/>
              </a:rPr>
              <a:t> ipsum. </a:t>
            </a:r>
            <a:r>
              <a:rPr kumimoji="0" lang="en-US"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mauri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Fusc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ec</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tellus</a:t>
            </a:r>
            <a:r>
              <a:rPr kumimoji="0" lang="en-US" sz="1000" b="0" i="0" u="none" strike="noStrike" kern="1200" cap="none" spc="0" normalizeH="0" baseline="0" noProof="0" dirty="0">
                <a:ln>
                  <a:noFill/>
                </a:ln>
                <a:solidFill>
                  <a:srgbClr val="000000"/>
                </a:solidFill>
                <a:effectLst/>
                <a:uLnTx/>
                <a:uFillTx/>
                <a:latin typeface="+mn-lt"/>
                <a:ea typeface="+mn-ea"/>
                <a:cs typeface="+mn-cs"/>
              </a:rPr>
              <a:t> sed </a:t>
            </a:r>
            <a:r>
              <a:rPr kumimoji="0" lang="en-US"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US" sz="1000" b="0" i="0" u="none" strike="noStrike" kern="1200" cap="none" spc="0" normalizeH="0" baseline="0" noProof="0" dirty="0">
                <a:ln>
                  <a:noFill/>
                </a:ln>
                <a:solidFill>
                  <a:srgbClr val="000000"/>
                </a:solidFill>
                <a:effectLst/>
                <a:uLnTx/>
                <a:uFillTx/>
                <a:latin typeface="+mn-lt"/>
                <a:ea typeface="+mn-ea"/>
                <a:cs typeface="+mn-cs"/>
              </a:rPr>
              <a:t> semper porta. </a:t>
            </a:r>
            <a:r>
              <a:rPr kumimoji="0" lang="en-US" sz="1000" b="0" i="0" u="none" strike="noStrike" kern="1200" cap="none" spc="0" normalizeH="0" baseline="0" noProof="0" dirty="0" err="1">
                <a:ln>
                  <a:noFill/>
                </a:ln>
                <a:solidFill>
                  <a:srgbClr val="000000"/>
                </a:solidFill>
                <a:effectLst/>
                <a:uLnTx/>
                <a:uFillTx/>
                <a:latin typeface="+mn-lt"/>
                <a:ea typeface="+mn-ea"/>
                <a:cs typeface="+mn-cs"/>
              </a:rPr>
              <a:t>Mauri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massa</a:t>
            </a:r>
            <a:r>
              <a:rPr kumimoji="0" lang="en-US" sz="1000" b="0" i="0" u="none" strike="noStrike" kern="1200" cap="none" spc="0" normalizeH="0" baseline="0" noProof="0" dirty="0">
                <a:ln>
                  <a:noFill/>
                </a:ln>
                <a:solidFill>
                  <a:srgbClr val="000000"/>
                </a:solidFill>
                <a:effectLst/>
                <a:uLnTx/>
                <a:uFillTx/>
                <a:latin typeface="+mn-lt"/>
                <a:ea typeface="+mn-ea"/>
                <a:cs typeface="+mn-cs"/>
              </a:rPr>
              <a:t>. Vestibulum lacinia </a:t>
            </a:r>
            <a:r>
              <a:rPr kumimoji="0" lang="en-US" sz="1000" b="0" i="0" u="none" strike="noStrike" kern="1200" cap="none" spc="0" normalizeH="0" baseline="0" noProof="0" dirty="0" err="1">
                <a:ln>
                  <a:noFill/>
                </a:ln>
                <a:solidFill>
                  <a:srgbClr val="000000"/>
                </a:solidFill>
                <a:effectLst/>
                <a:uLnTx/>
                <a:uFillTx/>
                <a:latin typeface="+mn-lt"/>
                <a:ea typeface="+mn-ea"/>
                <a:cs typeface="+mn-cs"/>
              </a:rPr>
              <a:t>arcu</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ege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ulla</a:t>
            </a:r>
            <a:r>
              <a:rPr kumimoji="0" lang="en-US" sz="1000" b="0" i="0" u="none" strike="noStrike" kern="1200" cap="none" spc="0" normalizeH="0" baseline="0" noProof="0" dirty="0">
                <a:ln>
                  <a:noFill/>
                </a:ln>
                <a:solidFill>
                  <a:srgbClr val="000000"/>
                </a:solidFill>
                <a:effectLst/>
                <a:uLnTx/>
                <a:uFillTx/>
                <a:latin typeface="+mn-lt"/>
                <a:ea typeface="+mn-ea"/>
                <a:cs typeface="+mn-cs"/>
              </a:rPr>
              <a:t>. Class </a:t>
            </a:r>
            <a:r>
              <a:rPr kumimoji="0" lang="en-US" sz="1000" b="0" i="0" u="none" strike="noStrike" kern="1200" cap="none" spc="0" normalizeH="0" baseline="0" noProof="0" dirty="0" err="1">
                <a:ln>
                  <a:noFill/>
                </a:ln>
                <a:solidFill>
                  <a:srgbClr val="000000"/>
                </a:solidFill>
                <a:effectLst/>
                <a:uLnTx/>
                <a:uFillTx/>
                <a:latin typeface="+mn-lt"/>
                <a:ea typeface="+mn-ea"/>
                <a:cs typeface="+mn-cs"/>
              </a:rPr>
              <a:t>apten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taciti</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sociosqu</a:t>
            </a:r>
            <a:r>
              <a:rPr kumimoji="0" lang="en-US" sz="1000" b="0" i="0" u="none" strike="noStrike" kern="1200" cap="none" spc="0" normalizeH="0" baseline="0" noProof="0" dirty="0">
                <a:ln>
                  <a:noFill/>
                </a:ln>
                <a:solidFill>
                  <a:srgbClr val="000000"/>
                </a:solidFill>
                <a:effectLst/>
                <a:uLnTx/>
                <a:uFillTx/>
                <a:latin typeface="+mn-lt"/>
                <a:ea typeface="+mn-ea"/>
                <a:cs typeface="+mn-cs"/>
              </a:rPr>
              <a:t> ad </a:t>
            </a:r>
            <a:r>
              <a:rPr kumimoji="0" lang="en-US" sz="1000" b="0" i="0" u="none" strike="noStrike" kern="1200" cap="none" spc="0" normalizeH="0" baseline="0" noProof="0" dirty="0" err="1">
                <a:ln>
                  <a:noFill/>
                </a:ln>
                <a:solidFill>
                  <a:srgbClr val="000000"/>
                </a:solidFill>
                <a:effectLst/>
                <a:uLnTx/>
                <a:uFillTx/>
                <a:latin typeface="+mn-lt"/>
                <a:ea typeface="+mn-ea"/>
                <a:cs typeface="+mn-cs"/>
              </a:rPr>
              <a:t>litora</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torquent</a:t>
            </a:r>
            <a:r>
              <a:rPr kumimoji="0" lang="en-US" sz="1000" b="0" i="0" u="none" strike="noStrike" kern="1200" cap="none" spc="0" normalizeH="0" baseline="0" noProof="0" dirty="0">
                <a:ln>
                  <a:noFill/>
                </a:ln>
                <a:solidFill>
                  <a:srgbClr val="000000"/>
                </a:solidFill>
                <a:effectLst/>
                <a:uLnTx/>
                <a:uFillTx/>
                <a:latin typeface="+mn-lt"/>
                <a:ea typeface="+mn-ea"/>
                <a:cs typeface="+mn-cs"/>
              </a:rPr>
              <a:t> per </a:t>
            </a:r>
            <a:r>
              <a:rPr kumimoji="0" lang="en-US" sz="1000" b="0" i="0" u="none" strike="noStrike" kern="1200" cap="none" spc="0" normalizeH="0" baseline="0" noProof="0" dirty="0" err="1">
                <a:ln>
                  <a:noFill/>
                </a:ln>
                <a:solidFill>
                  <a:srgbClr val="000000"/>
                </a:solidFill>
                <a:effectLst/>
                <a:uLnTx/>
                <a:uFillTx/>
                <a:latin typeface="+mn-lt"/>
                <a:ea typeface="+mn-ea"/>
                <a:cs typeface="+mn-cs"/>
              </a:rPr>
              <a:t>conubia</a:t>
            </a:r>
            <a:r>
              <a:rPr kumimoji="0" lang="en-US" sz="1000" b="0" i="0" u="none" strike="noStrike" kern="1200" cap="none" spc="0" normalizeH="0" baseline="0" noProof="0" dirty="0">
                <a:ln>
                  <a:noFill/>
                </a:ln>
                <a:solidFill>
                  <a:srgbClr val="000000"/>
                </a:solidFill>
                <a:effectLst/>
                <a:uLnTx/>
                <a:uFillTx/>
                <a:latin typeface="+mn-lt"/>
                <a:ea typeface="+mn-ea"/>
                <a:cs typeface="+mn-cs"/>
              </a:rPr>
              <a:t> nostra, per </a:t>
            </a:r>
            <a:r>
              <a:rPr kumimoji="0" lang="en-US" sz="1000" b="0" i="0" u="none" strike="noStrike" kern="1200" cap="none" spc="0" normalizeH="0" baseline="0" noProof="0" dirty="0" err="1">
                <a:ln>
                  <a:noFill/>
                </a:ln>
                <a:solidFill>
                  <a:srgbClr val="000000"/>
                </a:solidFill>
                <a:effectLst/>
                <a:uLnTx/>
                <a:uFillTx/>
                <a:latin typeface="+mn-lt"/>
                <a:ea typeface="+mn-ea"/>
                <a:cs typeface="+mn-cs"/>
              </a:rPr>
              <a:t>incepto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himenaeo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urabitur</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sodales</a:t>
            </a:r>
            <a:r>
              <a:rPr kumimoji="0" lang="en-US" sz="1000" b="0" i="0" u="none" strike="noStrike" kern="1200" cap="none" spc="0" normalizeH="0" baseline="0" noProof="0" dirty="0">
                <a:ln>
                  <a:noFill/>
                </a:ln>
                <a:solidFill>
                  <a:srgbClr val="000000"/>
                </a:solidFill>
                <a:effectLst/>
                <a:uLnTx/>
                <a:uFillTx/>
                <a:latin typeface="+mn-lt"/>
                <a:ea typeface="+mn-ea"/>
                <a:cs typeface="+mn-cs"/>
              </a:rPr>
              <a:t> ligula in libero. Sed </a:t>
            </a:r>
            <a:r>
              <a:rPr kumimoji="0" lang="en-US" sz="1000" b="0" i="0" u="none" strike="noStrike" kern="1200" cap="none" spc="0" normalizeH="0" baseline="0" noProof="0" dirty="0" err="1">
                <a:ln>
                  <a:noFill/>
                </a:ln>
                <a:solidFill>
                  <a:srgbClr val="000000"/>
                </a:solidFill>
                <a:effectLst/>
                <a:uLnTx/>
                <a:uFillTx/>
                <a:latin typeface="+mn-lt"/>
                <a:ea typeface="+mn-ea"/>
                <a:cs typeface="+mn-cs"/>
              </a:rPr>
              <a:t>dignissim</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estibulum ante ipsum </a:t>
            </a:r>
            <a:r>
              <a:rPr kumimoji="0" lang="en-US" sz="1000" b="0" i="0" u="none" strike="noStrike" kern="1200" cap="none" spc="0" normalizeH="0" baseline="0" noProof="0" dirty="0" err="1">
                <a:ln>
                  <a:noFill/>
                </a:ln>
                <a:solidFill>
                  <a:srgbClr val="000000"/>
                </a:solidFill>
                <a:effectLst/>
                <a:uLnTx/>
                <a:uFillTx/>
                <a:latin typeface="+mn-lt"/>
                <a:ea typeface="+mn-ea"/>
                <a:cs typeface="+mn-cs"/>
              </a:rPr>
              <a:t>primis</a:t>
            </a:r>
            <a:r>
              <a:rPr kumimoji="0" lang="en-US" sz="1000" b="0" i="0" u="none" strike="noStrike" kern="1200" cap="none" spc="0" normalizeH="0" baseline="0" noProof="0" dirty="0">
                <a:ln>
                  <a:noFill/>
                </a:ln>
                <a:solidFill>
                  <a:srgbClr val="000000"/>
                </a:solidFill>
                <a:effectLst/>
                <a:uLnTx/>
                <a:uFillTx/>
                <a:latin typeface="+mn-lt"/>
                <a:ea typeface="+mn-ea"/>
                <a:cs typeface="+mn-cs"/>
              </a:rPr>
              <a:t> in </a:t>
            </a:r>
            <a:r>
              <a:rPr kumimoji="0" lang="en-US" sz="1000" b="0" i="0" u="none" strike="noStrike" kern="1200" cap="none" spc="0" normalizeH="0" baseline="0" noProof="0" dirty="0" err="1">
                <a:ln>
                  <a:noFill/>
                </a:ln>
                <a:solidFill>
                  <a:srgbClr val="000000"/>
                </a:solidFill>
                <a:effectLst/>
                <a:uLnTx/>
                <a:uFillTx/>
                <a:latin typeface="+mn-lt"/>
                <a:ea typeface="+mn-ea"/>
                <a:cs typeface="+mn-cs"/>
              </a:rPr>
              <a:t>faucibu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orci</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luctus</a:t>
            </a:r>
            <a:r>
              <a:rPr kumimoji="0" lang="en-US" sz="1000" b="0" i="0" u="none" strike="noStrike" kern="1200" cap="none" spc="0" normalizeH="0" baseline="0" noProof="0" dirty="0">
                <a:ln>
                  <a:noFill/>
                </a:ln>
                <a:solidFill>
                  <a:srgbClr val="000000"/>
                </a:solidFill>
                <a:effectLst/>
                <a:uLnTx/>
                <a:uFillTx/>
                <a:latin typeface="+mn-lt"/>
                <a:ea typeface="+mn-ea"/>
                <a:cs typeface="+mn-cs"/>
              </a:rPr>
              <a:t> et </a:t>
            </a:r>
            <a:r>
              <a:rPr kumimoji="0" lang="en-US" sz="1000" b="0" i="0" u="none" strike="noStrike" kern="1200" cap="none" spc="0" normalizeH="0" baseline="0" noProof="0" dirty="0" err="1">
                <a:ln>
                  <a:noFill/>
                </a:ln>
                <a:solidFill>
                  <a:srgbClr val="000000"/>
                </a:solidFill>
                <a:effectLst/>
                <a:uLnTx/>
                <a:uFillTx/>
                <a:latin typeface="+mn-lt"/>
                <a:ea typeface="+mn-ea"/>
                <a:cs typeface="+mn-cs"/>
              </a:rPr>
              <a:t>ultrice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posuer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ubilia</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urae</a:t>
            </a:r>
            <a:r>
              <a:rPr kumimoji="0" lang="en-US" sz="1000" b="0" i="0" u="none" strike="noStrike" kern="1200" cap="none" spc="0" normalizeH="0" baseline="0" noProof="0" dirty="0">
                <a:ln>
                  <a:noFill/>
                </a:ln>
                <a:solidFill>
                  <a:srgbClr val="000000"/>
                </a:solidFill>
                <a:effectLst/>
                <a:uLnTx/>
                <a:uFillTx/>
                <a:latin typeface="+mn-lt"/>
                <a:ea typeface="+mn-ea"/>
                <a:cs typeface="+mn-cs"/>
              </a:rPr>
              <a:t>; Morbi lacinia </a:t>
            </a:r>
            <a:r>
              <a:rPr kumimoji="0" lang="en-US" sz="1000" b="0" i="0" u="none" strike="noStrike" kern="1200" cap="none" spc="0" normalizeH="0" baseline="0" noProof="0" dirty="0" err="1">
                <a:ln>
                  <a:noFill/>
                </a:ln>
                <a:solidFill>
                  <a:srgbClr val="000000"/>
                </a:solidFill>
                <a:effectLst/>
                <a:uLnTx/>
                <a:uFillTx/>
                <a:latin typeface="+mn-lt"/>
                <a:ea typeface="+mn-ea"/>
                <a:cs typeface="+mn-cs"/>
              </a:rPr>
              <a:t>molestie</a:t>
            </a:r>
            <a:r>
              <a:rPr kumimoji="0" lang="en-US" sz="1000" b="0" i="0" u="none" strike="noStrike" kern="1200" cap="none" spc="0" normalizeH="0" baseline="0" noProof="0" dirty="0">
                <a:ln>
                  <a:noFill/>
                </a:ln>
                <a:solidFill>
                  <a:srgbClr val="000000"/>
                </a:solidFill>
                <a:effectLst/>
                <a:uLnTx/>
                <a:uFillTx/>
                <a:latin typeface="+mn-lt"/>
                <a:ea typeface="+mn-ea"/>
                <a:cs typeface="+mn-cs"/>
              </a:rPr>
              <a:t> dui. </a:t>
            </a:r>
            <a:r>
              <a:rPr kumimoji="0" lang="en-US"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blandit</a:t>
            </a:r>
            <a:r>
              <a:rPr kumimoji="0" lang="en-US" sz="1000" b="0" i="0" u="none" strike="noStrike" kern="1200" cap="none" spc="0" normalizeH="0" baseline="0" noProof="0" dirty="0">
                <a:ln>
                  <a:noFill/>
                </a:ln>
                <a:solidFill>
                  <a:srgbClr val="000000"/>
                </a:solidFill>
                <a:effectLst/>
                <a:uLnTx/>
                <a:uFillTx/>
                <a:latin typeface="+mn-lt"/>
                <a:ea typeface="+mn-ea"/>
                <a:cs typeface="+mn-cs"/>
              </a:rPr>
              <a:t> dolor. Sed non </a:t>
            </a:r>
            <a:r>
              <a:rPr kumimoji="0" lang="en-US" sz="1000" b="0" i="0" u="none" strike="noStrike" kern="1200" cap="none" spc="0" normalizeH="0" baseline="0" noProof="0" dirty="0" err="1">
                <a:ln>
                  <a:noFill/>
                </a:ln>
                <a:solidFill>
                  <a:srgbClr val="000000"/>
                </a:solidFill>
                <a:effectLst/>
                <a:uLnTx/>
                <a:uFillTx/>
                <a:latin typeface="+mn-lt"/>
                <a:ea typeface="+mn-ea"/>
                <a:cs typeface="+mn-cs"/>
              </a:rPr>
              <a:t>quam</a:t>
            </a:r>
            <a:r>
              <a:rPr kumimoji="0" lang="en-US" sz="1000" b="0" i="0" u="none" strike="noStrike" kern="1200" cap="none" spc="0" normalizeH="0" baseline="0" noProof="0" dirty="0">
                <a:ln>
                  <a:noFill/>
                </a:ln>
                <a:solidFill>
                  <a:srgbClr val="000000"/>
                </a:solidFill>
                <a:effectLst/>
                <a:uLnTx/>
                <a:uFillTx/>
                <a:latin typeface="+mn-lt"/>
                <a:ea typeface="+mn-ea"/>
                <a:cs typeface="+mn-cs"/>
              </a:rPr>
              <a:t>. In vel mi si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me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ongu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dirty="0">
                <a:ln>
                  <a:noFill/>
                </a:ln>
                <a:solidFill>
                  <a:srgbClr val="000000"/>
                </a:solidFill>
                <a:effectLst/>
                <a:uLnTx/>
                <a:uFillTx/>
                <a:latin typeface="+mn-lt"/>
                <a:ea typeface="+mn-ea"/>
                <a:cs typeface="+mn-cs"/>
              </a:rPr>
              <a:t>. Morbi in ipsum si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me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ped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facilisi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laoreet</a:t>
            </a:r>
            <a:r>
              <a:rPr kumimoji="0" lang="en-US" sz="1000" b="0" i="0" u="none" strike="noStrike" kern="1200" cap="none" spc="0" normalizeH="0" baseline="0" noProof="0" dirty="0">
                <a:ln>
                  <a:noFill/>
                </a:ln>
                <a:solidFill>
                  <a:srgbClr val="000000"/>
                </a:solidFill>
                <a:effectLst/>
                <a:uLnTx/>
                <a:uFillTx/>
                <a:latin typeface="+mn-lt"/>
                <a:ea typeface="+mn-ea"/>
                <a:cs typeface="+mn-cs"/>
              </a:rPr>
              <a:t>. Donec </a:t>
            </a:r>
            <a:r>
              <a:rPr kumimoji="0" lang="en-US" sz="1000" b="0" i="0" u="none" strike="noStrike" kern="1200" cap="none" spc="0" normalizeH="0" baseline="0" noProof="0" dirty="0" err="1">
                <a:ln>
                  <a:noFill/>
                </a:ln>
                <a:solidFill>
                  <a:srgbClr val="000000"/>
                </a:solidFill>
                <a:effectLst/>
                <a:uLnTx/>
                <a:uFillTx/>
                <a:latin typeface="+mn-lt"/>
                <a:ea typeface="+mn-ea"/>
                <a:cs typeface="+mn-cs"/>
              </a:rPr>
              <a:t>lacu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unc</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viverra</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ec</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blandit</a:t>
            </a:r>
            <a:r>
              <a:rPr kumimoji="0" lang="en-US" sz="1000" b="0" i="0" u="none" strike="noStrike" kern="1200" cap="none" spc="0" normalizeH="0" baseline="0" noProof="0" dirty="0">
                <a:ln>
                  <a:noFill/>
                </a:ln>
                <a:solidFill>
                  <a:srgbClr val="000000"/>
                </a:solidFill>
                <a:effectLst/>
                <a:uLnTx/>
                <a:uFillTx/>
                <a:latin typeface="+mn-lt"/>
                <a:ea typeface="+mn-ea"/>
                <a:cs typeface="+mn-cs"/>
              </a:rPr>
              <a:t> vel, </a:t>
            </a:r>
            <a:r>
              <a:rPr kumimoji="0" lang="en-US" sz="1000" b="0" i="0" u="none" strike="noStrike" kern="1200" cap="none" spc="0" normalizeH="0" baseline="0" noProof="0" dirty="0" err="1">
                <a:ln>
                  <a:noFill/>
                </a:ln>
                <a:solidFill>
                  <a:srgbClr val="000000"/>
                </a:solidFill>
                <a:effectLst/>
                <a:uLnTx/>
                <a:uFillTx/>
                <a:latin typeface="+mn-lt"/>
                <a:ea typeface="+mn-ea"/>
                <a:cs typeface="+mn-cs"/>
              </a:rPr>
              <a:t>egestas</a:t>
            </a:r>
            <a:r>
              <a:rPr kumimoji="0" lang="en-US" sz="1000" b="0" i="0" u="none" strike="noStrike" kern="1200" cap="none" spc="0" normalizeH="0" baseline="0" noProof="0" dirty="0">
                <a:ln>
                  <a:noFill/>
                </a:ln>
                <a:solidFill>
                  <a:srgbClr val="000000"/>
                </a:solidFill>
                <a:effectLst/>
                <a:uLnTx/>
                <a:uFillTx/>
                <a:latin typeface="+mn-lt"/>
                <a:ea typeface="+mn-ea"/>
                <a:cs typeface="+mn-cs"/>
              </a:rPr>
              <a:t> e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err="1">
                <a:ln>
                  <a:noFill/>
                </a:ln>
                <a:solidFill>
                  <a:srgbClr val="000000"/>
                </a:solidFill>
                <a:effectLst/>
                <a:uLnTx/>
                <a:uFillTx/>
                <a:latin typeface="+mn-lt"/>
                <a:ea typeface="+mn-ea"/>
                <a:cs typeface="+mn-cs"/>
              </a:rPr>
              <a:t>Quisque</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volutpat</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condimentum</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velit</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Class </a:t>
            </a:r>
            <a:r>
              <a:rPr kumimoji="0" lang="en-US" sz="1000" b="1" i="0" u="none" strike="noStrike" kern="1200" cap="none" spc="0" normalizeH="0" baseline="0" noProof="0" dirty="0" err="1">
                <a:ln>
                  <a:noFill/>
                </a:ln>
                <a:solidFill>
                  <a:srgbClr val="000000"/>
                </a:solidFill>
                <a:effectLst/>
                <a:uLnTx/>
                <a:uFillTx/>
                <a:latin typeface="+mn-lt"/>
                <a:ea typeface="+mn-ea"/>
                <a:cs typeface="+mn-cs"/>
              </a:rPr>
              <a:t>aptent</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taciti</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sociosqu</a:t>
            </a:r>
            <a:r>
              <a:rPr kumimoji="0" lang="en-US" sz="1000" b="1" i="0" u="none" strike="noStrike" kern="1200" cap="none" spc="0" normalizeH="0" baseline="0" noProof="0" dirty="0">
                <a:ln>
                  <a:noFill/>
                </a:ln>
                <a:solidFill>
                  <a:srgbClr val="000000"/>
                </a:solidFill>
                <a:effectLst/>
                <a:uLnTx/>
                <a:uFillTx/>
                <a:latin typeface="+mn-lt"/>
                <a:ea typeface="+mn-ea"/>
                <a:cs typeface="+mn-cs"/>
              </a:rPr>
              <a:t> ad </a:t>
            </a:r>
            <a:r>
              <a:rPr kumimoji="0" lang="en-US" sz="1000" b="1" i="0" u="none" strike="noStrike" kern="1200" cap="none" spc="0" normalizeH="0" baseline="0" noProof="0" dirty="0" err="1">
                <a:ln>
                  <a:noFill/>
                </a:ln>
                <a:solidFill>
                  <a:srgbClr val="000000"/>
                </a:solidFill>
                <a:effectLst/>
                <a:uLnTx/>
                <a:uFillTx/>
                <a:latin typeface="+mn-lt"/>
                <a:ea typeface="+mn-ea"/>
                <a:cs typeface="+mn-cs"/>
              </a:rPr>
              <a:t>litora</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torquent</a:t>
            </a:r>
            <a:r>
              <a:rPr kumimoji="0" lang="en-US" sz="1000" b="1" i="0" u="none" strike="noStrike" kern="1200" cap="none" spc="0" normalizeH="0" baseline="0" noProof="0" dirty="0">
                <a:ln>
                  <a:noFill/>
                </a:ln>
                <a:solidFill>
                  <a:srgbClr val="000000"/>
                </a:solidFill>
                <a:effectLst/>
                <a:uLnTx/>
                <a:uFillTx/>
                <a:latin typeface="+mn-lt"/>
                <a:ea typeface="+mn-ea"/>
                <a:cs typeface="+mn-cs"/>
              </a:rPr>
              <a:t> per </a:t>
            </a:r>
            <a:r>
              <a:rPr kumimoji="0" lang="en-US" sz="1000" b="1" i="0" u="none" strike="noStrike" kern="1200" cap="none" spc="0" normalizeH="0" baseline="0" noProof="0" dirty="0" err="1">
                <a:ln>
                  <a:noFill/>
                </a:ln>
                <a:solidFill>
                  <a:srgbClr val="000000"/>
                </a:solidFill>
                <a:effectLst/>
                <a:uLnTx/>
                <a:uFillTx/>
                <a:latin typeface="+mn-lt"/>
                <a:ea typeface="+mn-ea"/>
                <a:cs typeface="+mn-cs"/>
              </a:rPr>
              <a:t>conubia</a:t>
            </a:r>
            <a:r>
              <a:rPr kumimoji="0" lang="en-US" sz="1000" b="1" i="0" u="none" strike="noStrike" kern="1200" cap="none" spc="0" normalizeH="0" baseline="0" noProof="0" dirty="0">
                <a:ln>
                  <a:noFill/>
                </a:ln>
                <a:solidFill>
                  <a:srgbClr val="000000"/>
                </a:solidFill>
                <a:effectLst/>
                <a:uLnTx/>
                <a:uFillTx/>
                <a:latin typeface="+mn-lt"/>
                <a:ea typeface="+mn-ea"/>
                <a:cs typeface="+mn-cs"/>
              </a:rPr>
              <a:t> nostra, per </a:t>
            </a:r>
            <a:r>
              <a:rPr kumimoji="0" lang="en-US" sz="1000" b="1" i="0" u="none" strike="noStrike" kern="1200" cap="none" spc="0" normalizeH="0" baseline="0" noProof="0" dirty="0" err="1">
                <a:ln>
                  <a:noFill/>
                </a:ln>
                <a:solidFill>
                  <a:srgbClr val="000000"/>
                </a:solidFill>
                <a:effectLst/>
                <a:uLnTx/>
                <a:uFillTx/>
                <a:latin typeface="+mn-lt"/>
                <a:ea typeface="+mn-ea"/>
                <a:cs typeface="+mn-cs"/>
              </a:rPr>
              <a:t>inceptos</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himenaeos</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Nam </a:t>
            </a:r>
            <a:r>
              <a:rPr kumimoji="0" lang="en-US" sz="1000" b="1" i="0" u="none" strike="noStrike" kern="1200" cap="none" spc="0" normalizeH="0" baseline="0" noProof="0" dirty="0" err="1">
                <a:ln>
                  <a:noFill/>
                </a:ln>
                <a:solidFill>
                  <a:srgbClr val="000000"/>
                </a:solidFill>
                <a:effectLst/>
                <a:uLnTx/>
                <a:uFillTx/>
                <a:latin typeface="+mn-lt"/>
                <a:ea typeface="+mn-ea"/>
                <a:cs typeface="+mn-cs"/>
              </a:rPr>
              <a:t>nec</a:t>
            </a:r>
            <a:r>
              <a:rPr kumimoji="0" lang="en-US" sz="1000" b="1" i="0" u="none" strike="noStrike" kern="1200" cap="none" spc="0" normalizeH="0" baseline="0" noProof="0" dirty="0">
                <a:ln>
                  <a:noFill/>
                </a:ln>
                <a:solidFill>
                  <a:srgbClr val="000000"/>
                </a:solidFill>
                <a:effectLst/>
                <a:uLnTx/>
                <a:uFillTx/>
                <a:latin typeface="+mn-lt"/>
                <a:ea typeface="+mn-ea"/>
                <a:cs typeface="+mn-cs"/>
              </a:rPr>
              <a:t> ante. Sed lacinia, </a:t>
            </a:r>
            <a:r>
              <a:rPr kumimoji="0" lang="en-US" sz="1000" b="1" i="0" u="none" strike="noStrike" kern="1200" cap="none" spc="0" normalizeH="0" baseline="0" noProof="0" dirty="0" err="1">
                <a:ln>
                  <a:noFill/>
                </a:ln>
                <a:solidFill>
                  <a:srgbClr val="000000"/>
                </a:solidFill>
                <a:effectLst/>
                <a:uLnTx/>
                <a:uFillTx/>
                <a:latin typeface="+mn-lt"/>
                <a:ea typeface="+mn-ea"/>
                <a:cs typeface="+mn-cs"/>
              </a:rPr>
              <a:t>urna</a:t>
            </a:r>
            <a:r>
              <a:rPr kumimoji="0" lang="en-US" sz="1000" b="1" i="0" u="none" strike="noStrike" kern="1200" cap="none" spc="0" normalizeH="0" baseline="0" noProof="0" dirty="0">
                <a:ln>
                  <a:noFill/>
                </a:ln>
                <a:solidFill>
                  <a:srgbClr val="000000"/>
                </a:solidFill>
                <a:effectLst/>
                <a:uLnTx/>
                <a:uFillTx/>
                <a:latin typeface="+mn-lt"/>
                <a:ea typeface="+mn-ea"/>
                <a:cs typeface="+mn-cs"/>
              </a:rPr>
              <a:t> non </a:t>
            </a:r>
            <a:r>
              <a:rPr kumimoji="0" lang="en-US" sz="1000" b="1" i="0" u="none" strike="noStrike" kern="1200" cap="none" spc="0" normalizeH="0" baseline="0" noProof="0" dirty="0" err="1">
                <a:ln>
                  <a:noFill/>
                </a:ln>
                <a:solidFill>
                  <a:srgbClr val="000000"/>
                </a:solidFill>
                <a:effectLst/>
                <a:uLnTx/>
                <a:uFillTx/>
                <a:latin typeface="+mn-lt"/>
                <a:ea typeface="+mn-ea"/>
                <a:cs typeface="+mn-cs"/>
              </a:rPr>
              <a:t>tincidunt</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mattis</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tortor</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neque</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adipiscing</a:t>
            </a:r>
            <a:r>
              <a:rPr kumimoji="0" lang="en-US" sz="1000" b="1" i="0" u="none" strike="noStrike" kern="1200" cap="none" spc="0" normalizeH="0" baseline="0" noProof="0" dirty="0">
                <a:ln>
                  <a:noFill/>
                </a:ln>
                <a:solidFill>
                  <a:srgbClr val="000000"/>
                </a:solidFill>
                <a:effectLst/>
                <a:uLnTx/>
                <a:uFillTx/>
                <a:latin typeface="+mn-lt"/>
                <a:ea typeface="+mn-ea"/>
                <a:cs typeface="+mn-cs"/>
              </a:rPr>
              <a:t> diam, a cursus ipsum ante </a:t>
            </a:r>
            <a:r>
              <a:rPr kumimoji="0" lang="en-US" sz="1000" b="1" i="0" u="none" strike="noStrike" kern="1200" cap="none" spc="0" normalizeH="0" baseline="0" noProof="0" dirty="0" err="1">
                <a:ln>
                  <a:noFill/>
                </a:ln>
                <a:solidFill>
                  <a:srgbClr val="000000"/>
                </a:solidFill>
                <a:effectLst/>
                <a:uLnTx/>
                <a:uFillTx/>
                <a:latin typeface="+mn-lt"/>
                <a:ea typeface="+mn-ea"/>
                <a:cs typeface="+mn-cs"/>
              </a:rPr>
              <a:t>quis</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turpis</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err="1">
                <a:ln>
                  <a:noFill/>
                </a:ln>
                <a:solidFill>
                  <a:srgbClr val="000000"/>
                </a:solidFill>
                <a:effectLst/>
                <a:uLnTx/>
                <a:uFillTx/>
                <a:latin typeface="+mn-lt"/>
                <a:ea typeface="+mn-ea"/>
                <a:cs typeface="+mn-cs"/>
              </a:rPr>
              <a:t>Nulla</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facilisi</a:t>
            </a:r>
            <a:r>
              <a:rPr kumimoji="0" lang="en-US" sz="1000" b="1" i="0" u="none" strike="noStrike" kern="1200" cap="none" spc="0" normalizeH="0" baseline="0" noProof="0" dirty="0">
                <a:ln>
                  <a:noFill/>
                </a:ln>
                <a:solidFill>
                  <a:srgbClr val="000000"/>
                </a:solidFill>
                <a:effectLst/>
                <a:uLnTx/>
                <a:uFillTx/>
                <a:latin typeface="+mn-lt"/>
                <a:ea typeface="+mn-ea"/>
                <a:cs typeface="+mn-cs"/>
              </a:rPr>
              <a:t>. Ut </a:t>
            </a:r>
            <a:r>
              <a:rPr kumimoji="0" lang="en-US" sz="1000" b="1" i="0" u="none" strike="noStrike" kern="1200" cap="none" spc="0" normalizeH="0" baseline="0" noProof="0" dirty="0" err="1">
                <a:ln>
                  <a:noFill/>
                </a:ln>
                <a:solidFill>
                  <a:srgbClr val="000000"/>
                </a:solidFill>
                <a:effectLst/>
                <a:uLnTx/>
                <a:uFillTx/>
                <a:latin typeface="+mn-lt"/>
                <a:ea typeface="+mn-ea"/>
                <a:cs typeface="+mn-cs"/>
              </a:rPr>
              <a:t>fringilla</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Suspendisse</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potenti</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Vestibulum lacinia </a:t>
            </a:r>
            <a:r>
              <a:rPr kumimoji="0" lang="en-US" sz="1000" b="1" i="0" u="none" strike="noStrike" kern="1200" cap="none" spc="0" normalizeH="0" baseline="0" noProof="0" dirty="0" err="1">
                <a:ln>
                  <a:noFill/>
                </a:ln>
                <a:solidFill>
                  <a:srgbClr val="000000"/>
                </a:solidFill>
                <a:effectLst/>
                <a:uLnTx/>
                <a:uFillTx/>
                <a:latin typeface="+mn-lt"/>
                <a:ea typeface="+mn-ea"/>
                <a:cs typeface="+mn-cs"/>
              </a:rPr>
              <a:t>arcu</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eget</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err="1">
                <a:ln>
                  <a:noFill/>
                </a:ln>
                <a:solidFill>
                  <a:srgbClr val="000000"/>
                </a:solidFill>
                <a:effectLst/>
                <a:uLnTx/>
                <a:uFillTx/>
                <a:latin typeface="+mn-lt"/>
                <a:ea typeface="+mn-ea"/>
                <a:cs typeface="+mn-cs"/>
              </a:rPr>
              <a:t>nulla</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me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onsectetur</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dipiscing</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elit</a:t>
            </a:r>
            <a:r>
              <a:rPr kumimoji="0" lang="en-US" sz="1000" b="0" i="0" u="none" strike="noStrike" kern="1200" cap="none" spc="0" normalizeH="0" baseline="0" noProof="0" dirty="0">
                <a:ln>
                  <a:noFill/>
                </a:ln>
                <a:solidFill>
                  <a:srgbClr val="000000"/>
                </a:solidFill>
                <a:effectLst/>
                <a:uLnTx/>
                <a:uFillTx/>
                <a:latin typeface="+mn-lt"/>
                <a:ea typeface="+mn-ea"/>
                <a:cs typeface="+mn-cs"/>
              </a:rPr>
              <a:t>. Integer </a:t>
            </a:r>
            <a:r>
              <a:rPr kumimoji="0" lang="en-US" sz="1000" b="0" i="0" u="none" strike="noStrike" kern="1200" cap="none" spc="0" normalizeH="0" baseline="0" noProof="0" dirty="0" err="1">
                <a:ln>
                  <a:noFill/>
                </a:ln>
                <a:solidFill>
                  <a:srgbClr val="000000"/>
                </a:solidFill>
                <a:effectLst/>
                <a:uLnTx/>
                <a:uFillTx/>
                <a:latin typeface="+mn-lt"/>
                <a:ea typeface="+mn-ea"/>
                <a:cs typeface="+mn-cs"/>
              </a:rPr>
              <a:t>nec</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odio</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dirty="0">
                <a:ln>
                  <a:noFill/>
                </a:ln>
                <a:solidFill>
                  <a:srgbClr val="000000"/>
                </a:solidFill>
                <a:effectLst/>
                <a:uLnTx/>
                <a:uFillTx/>
                <a:latin typeface="+mn-lt"/>
                <a:ea typeface="+mn-ea"/>
                <a:cs typeface="+mn-cs"/>
              </a:rPr>
              <a:t> libero. Sed cursus ante </a:t>
            </a:r>
            <a:r>
              <a:rPr kumimoji="0" lang="en-US" sz="1000" b="0" i="0" u="none" strike="noStrike" kern="1200" cap="none" spc="0" normalizeH="0" baseline="0" noProof="0" dirty="0" err="1">
                <a:ln>
                  <a:noFill/>
                </a:ln>
                <a:solidFill>
                  <a:srgbClr val="000000"/>
                </a:solidFill>
                <a:effectLst/>
                <a:uLnTx/>
                <a:uFillTx/>
                <a:latin typeface="+mn-lt"/>
                <a:ea typeface="+mn-ea"/>
                <a:cs typeface="+mn-cs"/>
              </a:rPr>
              <a:t>dapibus</a:t>
            </a:r>
            <a:r>
              <a:rPr kumimoji="0" lang="en-US" sz="1000" b="0" i="0" u="none" strike="noStrike" kern="1200" cap="none" spc="0" normalizeH="0" baseline="0" noProof="0" dirty="0">
                <a:ln>
                  <a:noFill/>
                </a:ln>
                <a:solidFill>
                  <a:srgbClr val="000000"/>
                </a:solidFill>
                <a:effectLst/>
                <a:uLnTx/>
                <a:uFillTx/>
                <a:latin typeface="+mn-lt"/>
                <a:ea typeface="+mn-ea"/>
                <a:cs typeface="+mn-cs"/>
              </a:rPr>
              <a:t> diam. Sed nisi. </a:t>
            </a:r>
            <a:r>
              <a:rPr kumimoji="0" lang="en-US" sz="1000" b="0" i="0" u="none" strike="noStrike" kern="1200" cap="none" spc="0" normalizeH="0" baseline="0" noProof="0" dirty="0" err="1">
                <a:ln>
                  <a:noFill/>
                </a:ln>
                <a:solidFill>
                  <a:srgbClr val="000000"/>
                </a:solidFill>
                <a:effectLst/>
                <a:uLnTx/>
                <a:uFillTx/>
                <a:latin typeface="+mn-lt"/>
                <a:ea typeface="+mn-ea"/>
                <a:cs typeface="+mn-cs"/>
              </a:rPr>
              <a:t>Nulla</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qui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sem</a:t>
            </a:r>
            <a:r>
              <a:rPr kumimoji="0" lang="en-US" sz="1000" b="0" i="0" u="none" strike="noStrike" kern="1200" cap="none" spc="0" normalizeH="0" baseline="0" noProof="0" dirty="0">
                <a:ln>
                  <a:noFill/>
                </a:ln>
                <a:solidFill>
                  <a:srgbClr val="000000"/>
                </a:solidFill>
                <a:effectLst/>
                <a:uLnTx/>
                <a:uFillTx/>
                <a:latin typeface="+mn-lt"/>
                <a:ea typeface="+mn-ea"/>
                <a:cs typeface="+mn-cs"/>
              </a:rPr>
              <a:t>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ibh</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imperdiet</a:t>
            </a:r>
            <a:r>
              <a:rPr kumimoji="0" lang="en-US" sz="1000" b="0" i="0" u="none" strike="noStrike" kern="1200" cap="none" spc="0" normalizeH="0" baseline="0" noProof="0" dirty="0">
                <a:ln>
                  <a:noFill/>
                </a:ln>
                <a:solidFill>
                  <a:srgbClr val="000000"/>
                </a:solidFill>
                <a:effectLst/>
                <a:uLnTx/>
                <a:uFillTx/>
                <a:latin typeface="+mn-lt"/>
                <a:ea typeface="+mn-ea"/>
                <a:cs typeface="+mn-cs"/>
              </a:rPr>
              <a:t>. Duis </a:t>
            </a:r>
            <a:r>
              <a:rPr kumimoji="0" lang="en-US" sz="1000" b="0" i="0" u="none" strike="noStrike" kern="1200" cap="none" spc="0" normalizeH="0" baseline="0" noProof="0" dirty="0" err="1">
                <a:ln>
                  <a:noFill/>
                </a:ln>
                <a:solidFill>
                  <a:srgbClr val="000000"/>
                </a:solidFill>
                <a:effectLst/>
                <a:uLnTx/>
                <a:uFillTx/>
                <a:latin typeface="+mn-lt"/>
                <a:ea typeface="+mn-ea"/>
                <a:cs typeface="+mn-cs"/>
              </a:rPr>
              <a:t>sagittis</a:t>
            </a:r>
            <a:r>
              <a:rPr kumimoji="0" lang="en-US" sz="1000" b="0" i="0" u="none" strike="noStrike" kern="1200" cap="none" spc="0" normalizeH="0" baseline="0" noProof="0" dirty="0">
                <a:ln>
                  <a:noFill/>
                </a:ln>
                <a:solidFill>
                  <a:srgbClr val="000000"/>
                </a:solidFill>
                <a:effectLst/>
                <a:uLnTx/>
                <a:uFillTx/>
                <a:latin typeface="+mn-lt"/>
                <a:ea typeface="+mn-ea"/>
                <a:cs typeface="+mn-cs"/>
              </a:rPr>
              <a:t> ipsum. </a:t>
            </a:r>
            <a:r>
              <a:rPr kumimoji="0" lang="en-US"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mauri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Fusc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ec</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tellus</a:t>
            </a:r>
            <a:r>
              <a:rPr kumimoji="0" lang="en-US" sz="1000" b="0" i="0" u="none" strike="noStrike" kern="1200" cap="none" spc="0" normalizeH="0" baseline="0" noProof="0" dirty="0">
                <a:ln>
                  <a:noFill/>
                </a:ln>
                <a:solidFill>
                  <a:srgbClr val="000000"/>
                </a:solidFill>
                <a:effectLst/>
                <a:uLnTx/>
                <a:uFillTx/>
                <a:latin typeface="+mn-lt"/>
                <a:ea typeface="+mn-ea"/>
                <a:cs typeface="+mn-cs"/>
              </a:rPr>
              <a:t> sed </a:t>
            </a:r>
            <a:r>
              <a:rPr kumimoji="0" lang="en-US"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US" sz="1000" b="0" i="0" u="none" strike="noStrike" kern="1200" cap="none" spc="0" normalizeH="0" baseline="0" noProof="0" dirty="0">
                <a:ln>
                  <a:noFill/>
                </a:ln>
                <a:solidFill>
                  <a:srgbClr val="000000"/>
                </a:solidFill>
                <a:effectLst/>
                <a:uLnTx/>
                <a:uFillTx/>
                <a:latin typeface="+mn-lt"/>
                <a:ea typeface="+mn-ea"/>
                <a:cs typeface="+mn-cs"/>
              </a:rPr>
              <a:t> semper porta. </a:t>
            </a:r>
            <a:r>
              <a:rPr kumimoji="0" lang="en-US" sz="1000" b="0" i="0" u="none" strike="noStrike" kern="1200" cap="none" spc="0" normalizeH="0" baseline="0" noProof="0" dirty="0" err="1">
                <a:ln>
                  <a:noFill/>
                </a:ln>
                <a:solidFill>
                  <a:srgbClr val="000000"/>
                </a:solidFill>
                <a:effectLst/>
                <a:uLnTx/>
                <a:uFillTx/>
                <a:latin typeface="+mn-lt"/>
                <a:ea typeface="+mn-ea"/>
                <a:cs typeface="+mn-cs"/>
              </a:rPr>
              <a:t>Mauri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massa</a:t>
            </a:r>
            <a:r>
              <a:rPr kumimoji="0" lang="en-US" sz="1000" b="0" i="0" u="none" strike="noStrike" kern="1200" cap="none" spc="0" normalizeH="0" baseline="0" noProof="0" dirty="0">
                <a:ln>
                  <a:noFill/>
                </a:ln>
                <a:solidFill>
                  <a:srgbClr val="000000"/>
                </a:solidFill>
                <a:effectLst/>
                <a:uLnTx/>
                <a:uFillTx/>
                <a:latin typeface="+mn-lt"/>
                <a:ea typeface="+mn-ea"/>
                <a:cs typeface="+mn-cs"/>
              </a:rPr>
              <a:t>. Vestibulum lacinia </a:t>
            </a:r>
            <a:r>
              <a:rPr kumimoji="0" lang="en-US" sz="1000" b="0" i="0" u="none" strike="noStrike" kern="1200" cap="none" spc="0" normalizeH="0" baseline="0" noProof="0" dirty="0" err="1">
                <a:ln>
                  <a:noFill/>
                </a:ln>
                <a:solidFill>
                  <a:srgbClr val="000000"/>
                </a:solidFill>
                <a:effectLst/>
                <a:uLnTx/>
                <a:uFillTx/>
                <a:latin typeface="+mn-lt"/>
                <a:ea typeface="+mn-ea"/>
                <a:cs typeface="+mn-cs"/>
              </a:rPr>
              <a:t>arcu</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ege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ulla</a:t>
            </a:r>
            <a:r>
              <a:rPr kumimoji="0" lang="en-US" sz="1000" b="0" i="0" u="none" strike="noStrike" kern="1200" cap="none" spc="0" normalizeH="0" baseline="0" noProof="0" dirty="0">
                <a:ln>
                  <a:noFill/>
                </a:ln>
                <a:solidFill>
                  <a:srgbClr val="000000"/>
                </a:solidFill>
                <a:effectLst/>
                <a:uLnTx/>
                <a:uFillTx/>
                <a:latin typeface="+mn-lt"/>
                <a:ea typeface="+mn-ea"/>
                <a:cs typeface="+mn-cs"/>
              </a:rPr>
              <a:t>. Class </a:t>
            </a:r>
            <a:r>
              <a:rPr kumimoji="0" lang="en-US" sz="1000" b="0" i="0" u="none" strike="noStrike" kern="1200" cap="none" spc="0" normalizeH="0" baseline="0" noProof="0" dirty="0" err="1">
                <a:ln>
                  <a:noFill/>
                </a:ln>
                <a:solidFill>
                  <a:srgbClr val="000000"/>
                </a:solidFill>
                <a:effectLst/>
                <a:uLnTx/>
                <a:uFillTx/>
                <a:latin typeface="+mn-lt"/>
                <a:ea typeface="+mn-ea"/>
                <a:cs typeface="+mn-cs"/>
              </a:rPr>
              <a:t>apten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taciti</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sociosqu</a:t>
            </a:r>
            <a:r>
              <a:rPr kumimoji="0" lang="en-US" sz="1000" b="0" i="0" u="none" strike="noStrike" kern="1200" cap="none" spc="0" normalizeH="0" baseline="0" noProof="0" dirty="0">
                <a:ln>
                  <a:noFill/>
                </a:ln>
                <a:solidFill>
                  <a:srgbClr val="000000"/>
                </a:solidFill>
                <a:effectLst/>
                <a:uLnTx/>
                <a:uFillTx/>
                <a:latin typeface="+mn-lt"/>
                <a:ea typeface="+mn-ea"/>
                <a:cs typeface="+mn-cs"/>
              </a:rPr>
              <a:t> ad </a:t>
            </a:r>
            <a:r>
              <a:rPr kumimoji="0" lang="en-US" sz="1000" b="0" i="0" u="none" strike="noStrike" kern="1200" cap="none" spc="0" normalizeH="0" baseline="0" noProof="0" dirty="0" err="1">
                <a:ln>
                  <a:noFill/>
                </a:ln>
                <a:solidFill>
                  <a:srgbClr val="000000"/>
                </a:solidFill>
                <a:effectLst/>
                <a:uLnTx/>
                <a:uFillTx/>
                <a:latin typeface="+mn-lt"/>
                <a:ea typeface="+mn-ea"/>
                <a:cs typeface="+mn-cs"/>
              </a:rPr>
              <a:t>litora</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torquent</a:t>
            </a:r>
            <a:r>
              <a:rPr kumimoji="0" lang="en-US" sz="1000" b="0" i="0" u="none" strike="noStrike" kern="1200" cap="none" spc="0" normalizeH="0" baseline="0" noProof="0" dirty="0">
                <a:ln>
                  <a:noFill/>
                </a:ln>
                <a:solidFill>
                  <a:srgbClr val="000000"/>
                </a:solidFill>
                <a:effectLst/>
                <a:uLnTx/>
                <a:uFillTx/>
                <a:latin typeface="+mn-lt"/>
                <a:ea typeface="+mn-ea"/>
                <a:cs typeface="+mn-cs"/>
              </a:rPr>
              <a:t> per </a:t>
            </a:r>
            <a:r>
              <a:rPr kumimoji="0" lang="en-US" sz="1000" b="0" i="0" u="none" strike="noStrike" kern="1200" cap="none" spc="0" normalizeH="0" baseline="0" noProof="0" dirty="0" err="1">
                <a:ln>
                  <a:noFill/>
                </a:ln>
                <a:solidFill>
                  <a:srgbClr val="000000"/>
                </a:solidFill>
                <a:effectLst/>
                <a:uLnTx/>
                <a:uFillTx/>
                <a:latin typeface="+mn-lt"/>
                <a:ea typeface="+mn-ea"/>
                <a:cs typeface="+mn-cs"/>
              </a:rPr>
              <a:t>conubia</a:t>
            </a:r>
            <a:r>
              <a:rPr kumimoji="0" lang="en-US" sz="1000" b="0" i="0" u="none" strike="noStrike" kern="1200" cap="none" spc="0" normalizeH="0" baseline="0" noProof="0" dirty="0">
                <a:ln>
                  <a:noFill/>
                </a:ln>
                <a:solidFill>
                  <a:srgbClr val="000000"/>
                </a:solidFill>
                <a:effectLst/>
                <a:uLnTx/>
                <a:uFillTx/>
                <a:latin typeface="+mn-lt"/>
                <a:ea typeface="+mn-ea"/>
                <a:cs typeface="+mn-cs"/>
              </a:rPr>
              <a:t> nostra, per </a:t>
            </a:r>
            <a:r>
              <a:rPr kumimoji="0" lang="en-US" sz="1000" b="0" i="0" u="none" strike="noStrike" kern="1200" cap="none" spc="0" normalizeH="0" baseline="0" noProof="0" dirty="0" err="1">
                <a:ln>
                  <a:noFill/>
                </a:ln>
                <a:solidFill>
                  <a:srgbClr val="000000"/>
                </a:solidFill>
                <a:effectLst/>
                <a:uLnTx/>
                <a:uFillTx/>
                <a:latin typeface="+mn-lt"/>
                <a:ea typeface="+mn-ea"/>
                <a:cs typeface="+mn-cs"/>
              </a:rPr>
              <a:t>incepto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himenaeo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urabitur</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sodales</a:t>
            </a:r>
            <a:r>
              <a:rPr kumimoji="0" lang="en-US" sz="1000" b="0" i="0" u="none" strike="noStrike" kern="1200" cap="none" spc="0" normalizeH="0" baseline="0" noProof="0" dirty="0">
                <a:ln>
                  <a:noFill/>
                </a:ln>
                <a:solidFill>
                  <a:srgbClr val="000000"/>
                </a:solidFill>
                <a:effectLst/>
                <a:uLnTx/>
                <a:uFillTx/>
                <a:latin typeface="+mn-lt"/>
                <a:ea typeface="+mn-ea"/>
                <a:cs typeface="+mn-cs"/>
              </a:rPr>
              <a:t> ligula in libero. Sed </a:t>
            </a:r>
            <a:r>
              <a:rPr kumimoji="0" lang="en-US" sz="1000" b="0" i="0" u="none" strike="noStrike" kern="1200" cap="none" spc="0" normalizeH="0" baseline="0" noProof="0" dirty="0" err="1">
                <a:ln>
                  <a:noFill/>
                </a:ln>
                <a:solidFill>
                  <a:srgbClr val="000000"/>
                </a:solidFill>
                <a:effectLst/>
                <a:uLnTx/>
                <a:uFillTx/>
                <a:latin typeface="+mn-lt"/>
                <a:ea typeface="+mn-ea"/>
                <a:cs typeface="+mn-cs"/>
              </a:rPr>
              <a:t>dignissim</a:t>
            </a:r>
            <a:r>
              <a:rPr kumimoji="0" lang="en-US" sz="1000" b="0" i="0" u="none" strike="noStrike" kern="1200" cap="none" spc="0" normalizeH="0" baseline="0" noProof="0" dirty="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estibulum ante ipsum </a:t>
            </a:r>
            <a:r>
              <a:rPr kumimoji="0" lang="en-US" sz="1000" b="0" i="0" u="none" strike="noStrike" kern="1200" cap="none" spc="0" normalizeH="0" baseline="0" noProof="0" dirty="0" err="1">
                <a:ln>
                  <a:noFill/>
                </a:ln>
                <a:solidFill>
                  <a:srgbClr val="000000"/>
                </a:solidFill>
                <a:effectLst/>
                <a:uLnTx/>
                <a:uFillTx/>
                <a:latin typeface="+mn-lt"/>
                <a:ea typeface="+mn-ea"/>
                <a:cs typeface="+mn-cs"/>
              </a:rPr>
              <a:t>primis</a:t>
            </a:r>
            <a:r>
              <a:rPr kumimoji="0" lang="en-US" sz="1000" b="0" i="0" u="none" strike="noStrike" kern="1200" cap="none" spc="0" normalizeH="0" baseline="0" noProof="0" dirty="0">
                <a:ln>
                  <a:noFill/>
                </a:ln>
                <a:solidFill>
                  <a:srgbClr val="000000"/>
                </a:solidFill>
                <a:effectLst/>
                <a:uLnTx/>
                <a:uFillTx/>
                <a:latin typeface="+mn-lt"/>
                <a:ea typeface="+mn-ea"/>
                <a:cs typeface="+mn-cs"/>
              </a:rPr>
              <a:t> in </a:t>
            </a:r>
            <a:r>
              <a:rPr kumimoji="0" lang="en-US" sz="1000" b="0" i="0" u="none" strike="noStrike" kern="1200" cap="none" spc="0" normalizeH="0" baseline="0" noProof="0" dirty="0" err="1">
                <a:ln>
                  <a:noFill/>
                </a:ln>
                <a:solidFill>
                  <a:srgbClr val="000000"/>
                </a:solidFill>
                <a:effectLst/>
                <a:uLnTx/>
                <a:uFillTx/>
                <a:latin typeface="+mn-lt"/>
                <a:ea typeface="+mn-ea"/>
                <a:cs typeface="+mn-cs"/>
              </a:rPr>
              <a:t>faucibu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orci</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luctus</a:t>
            </a:r>
            <a:r>
              <a:rPr kumimoji="0" lang="en-US" sz="1000" b="0" i="0" u="none" strike="noStrike" kern="1200" cap="none" spc="0" normalizeH="0" baseline="0" noProof="0" dirty="0">
                <a:ln>
                  <a:noFill/>
                </a:ln>
                <a:solidFill>
                  <a:srgbClr val="000000"/>
                </a:solidFill>
                <a:effectLst/>
                <a:uLnTx/>
                <a:uFillTx/>
                <a:latin typeface="+mn-lt"/>
                <a:ea typeface="+mn-ea"/>
                <a:cs typeface="+mn-cs"/>
              </a:rPr>
              <a:t> et </a:t>
            </a:r>
            <a:r>
              <a:rPr kumimoji="0" lang="en-US" sz="1000" b="0" i="0" u="none" strike="noStrike" kern="1200" cap="none" spc="0" normalizeH="0" baseline="0" noProof="0" dirty="0" err="1">
                <a:ln>
                  <a:noFill/>
                </a:ln>
                <a:solidFill>
                  <a:srgbClr val="000000"/>
                </a:solidFill>
                <a:effectLst/>
                <a:uLnTx/>
                <a:uFillTx/>
                <a:latin typeface="+mn-lt"/>
                <a:ea typeface="+mn-ea"/>
                <a:cs typeface="+mn-cs"/>
              </a:rPr>
              <a:t>ultrice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posuer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ubilia</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urae</a:t>
            </a:r>
            <a:r>
              <a:rPr kumimoji="0" lang="en-US" sz="1000" b="0" i="0" u="none" strike="noStrike" kern="1200" cap="none" spc="0" normalizeH="0" baseline="0" noProof="0" dirty="0">
                <a:ln>
                  <a:noFill/>
                </a:ln>
                <a:solidFill>
                  <a:srgbClr val="000000"/>
                </a:solidFill>
                <a:effectLst/>
                <a:uLnTx/>
                <a:uFillTx/>
                <a:latin typeface="+mn-lt"/>
                <a:ea typeface="+mn-ea"/>
                <a:cs typeface="+mn-cs"/>
              </a:rPr>
              <a:t>; Morbi lacinia </a:t>
            </a:r>
            <a:r>
              <a:rPr kumimoji="0" lang="en-US" sz="1000" b="0" i="0" u="none" strike="noStrike" kern="1200" cap="none" spc="0" normalizeH="0" baseline="0" noProof="0" dirty="0" err="1">
                <a:ln>
                  <a:noFill/>
                </a:ln>
                <a:solidFill>
                  <a:srgbClr val="000000"/>
                </a:solidFill>
                <a:effectLst/>
                <a:uLnTx/>
                <a:uFillTx/>
                <a:latin typeface="+mn-lt"/>
                <a:ea typeface="+mn-ea"/>
                <a:cs typeface="+mn-cs"/>
              </a:rPr>
              <a:t>molestie</a:t>
            </a:r>
            <a:r>
              <a:rPr kumimoji="0" lang="en-US" sz="1000" b="0" i="0" u="none" strike="noStrike" kern="1200" cap="none" spc="0" normalizeH="0" baseline="0" noProof="0" dirty="0">
                <a:ln>
                  <a:noFill/>
                </a:ln>
                <a:solidFill>
                  <a:srgbClr val="000000"/>
                </a:solidFill>
                <a:effectLst/>
                <a:uLnTx/>
                <a:uFillTx/>
                <a:latin typeface="+mn-lt"/>
                <a:ea typeface="+mn-ea"/>
                <a:cs typeface="+mn-cs"/>
              </a:rPr>
              <a:t> dui. </a:t>
            </a:r>
            <a:r>
              <a:rPr kumimoji="0" lang="en-US"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blandit</a:t>
            </a:r>
            <a:r>
              <a:rPr kumimoji="0" lang="en-US" sz="1000" b="0" i="0" u="none" strike="noStrike" kern="1200" cap="none" spc="0" normalizeH="0" baseline="0" noProof="0" dirty="0">
                <a:ln>
                  <a:noFill/>
                </a:ln>
                <a:solidFill>
                  <a:srgbClr val="000000"/>
                </a:solidFill>
                <a:effectLst/>
                <a:uLnTx/>
                <a:uFillTx/>
                <a:latin typeface="+mn-lt"/>
                <a:ea typeface="+mn-ea"/>
                <a:cs typeface="+mn-cs"/>
              </a:rPr>
              <a:t> dolor. Sed non </a:t>
            </a:r>
            <a:r>
              <a:rPr kumimoji="0" lang="en-US" sz="1000" b="0" i="0" u="none" strike="noStrike" kern="1200" cap="none" spc="0" normalizeH="0" baseline="0" noProof="0" dirty="0" err="1">
                <a:ln>
                  <a:noFill/>
                </a:ln>
                <a:solidFill>
                  <a:srgbClr val="000000"/>
                </a:solidFill>
                <a:effectLst/>
                <a:uLnTx/>
                <a:uFillTx/>
                <a:latin typeface="+mn-lt"/>
                <a:ea typeface="+mn-ea"/>
                <a:cs typeface="+mn-cs"/>
              </a:rPr>
              <a:t>quam</a:t>
            </a:r>
            <a:r>
              <a:rPr kumimoji="0" lang="en-US" sz="1000" b="0" i="0" u="none" strike="noStrike" kern="1200" cap="none" spc="0" normalizeH="0" baseline="0" noProof="0" dirty="0">
                <a:ln>
                  <a:noFill/>
                </a:ln>
                <a:solidFill>
                  <a:srgbClr val="000000"/>
                </a:solidFill>
                <a:effectLst/>
                <a:uLnTx/>
                <a:uFillTx/>
                <a:latin typeface="+mn-lt"/>
                <a:ea typeface="+mn-ea"/>
                <a:cs typeface="+mn-cs"/>
              </a:rPr>
              <a:t>. In vel mi si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me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congu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dirty="0">
                <a:ln>
                  <a:noFill/>
                </a:ln>
                <a:solidFill>
                  <a:srgbClr val="000000"/>
                </a:solidFill>
                <a:effectLst/>
                <a:uLnTx/>
                <a:uFillTx/>
                <a:latin typeface="+mn-lt"/>
                <a:ea typeface="+mn-ea"/>
                <a:cs typeface="+mn-cs"/>
              </a:rPr>
              <a:t>. Morbi in ipsum si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met</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ped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facilisi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laoreet</a:t>
            </a:r>
            <a:r>
              <a:rPr kumimoji="0" lang="en-US" sz="1000" b="0" i="0" u="none" strike="noStrike" kern="1200" cap="none" spc="0" normalizeH="0" baseline="0" noProof="0" dirty="0">
                <a:ln>
                  <a:noFill/>
                </a:ln>
                <a:solidFill>
                  <a:srgbClr val="000000"/>
                </a:solidFill>
                <a:effectLst/>
                <a:uLnTx/>
                <a:uFillTx/>
                <a:latin typeface="+mn-lt"/>
                <a:ea typeface="+mn-ea"/>
                <a:cs typeface="+mn-cs"/>
              </a:rPr>
              <a:t>. Donec </a:t>
            </a:r>
            <a:r>
              <a:rPr kumimoji="0" lang="en-US" sz="1000" b="0" i="0" u="none" strike="noStrike" kern="1200" cap="none" spc="0" normalizeH="0" baseline="0" noProof="0" dirty="0" err="1">
                <a:ln>
                  <a:noFill/>
                </a:ln>
                <a:solidFill>
                  <a:srgbClr val="000000"/>
                </a:solidFill>
                <a:effectLst/>
                <a:uLnTx/>
                <a:uFillTx/>
                <a:latin typeface="+mn-lt"/>
                <a:ea typeface="+mn-ea"/>
                <a:cs typeface="+mn-cs"/>
              </a:rPr>
              <a:t>lacu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unc</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viverra</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nec</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blandit</a:t>
            </a:r>
            <a:r>
              <a:rPr kumimoji="0" lang="en-US" sz="1000" b="0" i="0" u="none" strike="noStrike" kern="1200" cap="none" spc="0" normalizeH="0" baseline="0" noProof="0" dirty="0">
                <a:ln>
                  <a:noFill/>
                </a:ln>
                <a:solidFill>
                  <a:srgbClr val="000000"/>
                </a:solidFill>
                <a:effectLst/>
                <a:uLnTx/>
                <a:uFillTx/>
                <a:latin typeface="+mn-lt"/>
                <a:ea typeface="+mn-ea"/>
                <a:cs typeface="+mn-cs"/>
              </a:rPr>
              <a:t> vel, </a:t>
            </a:r>
            <a:r>
              <a:rPr kumimoji="0" lang="en-US" sz="1000" b="0" i="0" u="none" strike="noStrike" kern="1200" cap="none" spc="0" normalizeH="0" baseline="0" noProof="0" dirty="0" err="1">
                <a:ln>
                  <a:noFill/>
                </a:ln>
                <a:solidFill>
                  <a:srgbClr val="000000"/>
                </a:solidFill>
                <a:effectLst/>
                <a:uLnTx/>
                <a:uFillTx/>
                <a:latin typeface="+mn-lt"/>
                <a:ea typeface="+mn-ea"/>
                <a:cs typeface="+mn-cs"/>
              </a:rPr>
              <a:t>egestas</a:t>
            </a:r>
            <a:r>
              <a:rPr kumimoji="0" lang="en-US" sz="1000" b="0" i="0" u="none" strike="noStrike" kern="1200" cap="none" spc="0" normalizeH="0" baseline="0" noProof="0" dirty="0">
                <a:ln>
                  <a:noFill/>
                </a:ln>
                <a:solidFill>
                  <a:srgbClr val="000000"/>
                </a:solidFill>
                <a:effectLst/>
                <a:uLnTx/>
                <a:uFillTx/>
                <a:latin typeface="+mn-lt"/>
                <a:ea typeface="+mn-ea"/>
                <a:cs typeface="+mn-cs"/>
              </a:rPr>
              <a:t> e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p:txBody>
      </p:sp>
      <p:cxnSp>
        <p:nvCxnSpPr>
          <p:cNvPr id="15" name="Straight Connector 14">
            <a:extLst>
              <a:ext uri="{FF2B5EF4-FFF2-40B4-BE49-F238E27FC236}">
                <a16:creationId xmlns:a16="http://schemas.microsoft.com/office/drawing/2014/main" id="{45EAAC76-D81F-C040-9284-FE1D7DE2EED5}"/>
              </a:ext>
            </a:extLst>
          </p:cNvPr>
          <p:cNvCxnSpPr/>
          <p:nvPr userDrawn="1"/>
        </p:nvCxnSpPr>
        <p:spPr>
          <a:xfrm>
            <a:off x="9036424" y="1532965"/>
            <a:ext cx="0" cy="4572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4BC7A3C3-F60A-DB44-AB4E-DA62FF3DA2EC}"/>
              </a:ext>
            </a:extLst>
          </p:cNvPr>
          <p:cNvSpPr>
            <a:spLocks noGrp="1"/>
          </p:cNvSpPr>
          <p:nvPr>
            <p:ph type="title" hasCustomPrompt="1"/>
          </p:nvPr>
        </p:nvSpPr>
        <p:spPr bwMode="gray">
          <a:xfrm>
            <a:off x="914401" y="279400"/>
            <a:ext cx="4191000" cy="787400"/>
          </a:xfrm>
          <a:prstGeom prst="rect">
            <a:avLst/>
          </a:prstGeom>
        </p:spPr>
        <p:txBody>
          <a:bodyPr vert="horz" lIns="0" tIns="0" rIns="0" bIns="0" rtlCol="0" anchor="b" anchorCtr="0">
            <a:noAutofit/>
          </a:bodyPr>
          <a:lstStyle/>
          <a:p>
            <a:r>
              <a:rPr lang="en-US" noProof="0" dirty="0"/>
              <a:t>This an executive letter slide</a:t>
            </a:r>
          </a:p>
        </p:txBody>
      </p:sp>
      <p:sp>
        <p:nvSpPr>
          <p:cNvPr id="12" name="Text Placeholder 40">
            <a:extLst>
              <a:ext uri="{FF2B5EF4-FFF2-40B4-BE49-F238E27FC236}">
                <a16:creationId xmlns:a16="http://schemas.microsoft.com/office/drawing/2014/main" id="{6FEF8CDE-390B-A14E-8415-4315F05E77B1}"/>
              </a:ext>
            </a:extLst>
          </p:cNvPr>
          <p:cNvSpPr>
            <a:spLocks noGrp="1"/>
          </p:cNvSpPr>
          <p:nvPr>
            <p:ph type="body" sz="quarter" idx="25" hasCustomPrompt="1"/>
          </p:nvPr>
        </p:nvSpPr>
        <p:spPr>
          <a:xfrm>
            <a:off x="9296400" y="2113189"/>
            <a:ext cx="1982787" cy="787400"/>
          </a:xfrm>
          <a:prstGeom prst="rect">
            <a:avLst/>
          </a:prstGeom>
        </p:spPr>
        <p:txBody>
          <a:bodyPr anchor="t"/>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5" name="Picture Placeholder 4">
            <a:extLst>
              <a:ext uri="{FF2B5EF4-FFF2-40B4-BE49-F238E27FC236}">
                <a16:creationId xmlns:a16="http://schemas.microsoft.com/office/drawing/2014/main" id="{809E6F45-A1FC-DD4F-B2C7-9DAAA11D28B8}"/>
              </a:ext>
            </a:extLst>
          </p:cNvPr>
          <p:cNvSpPr>
            <a:spLocks noGrp="1"/>
          </p:cNvSpPr>
          <p:nvPr>
            <p:ph type="pic" sz="quarter" idx="26" hasCustomPrompt="1"/>
          </p:nvPr>
        </p:nvSpPr>
        <p:spPr>
          <a:xfrm>
            <a:off x="9296400" y="1573213"/>
            <a:ext cx="1436909" cy="539976"/>
          </a:xfrm>
        </p:spPr>
        <p:txBody>
          <a:bodyPr anchor="ctr"/>
          <a:lstStyle>
            <a:lvl1pPr algn="ctr">
              <a:defRPr sz="900"/>
            </a:lvl1pPr>
          </a:lstStyle>
          <a:p>
            <a:r>
              <a:rPr lang="en-US" dirty="0"/>
              <a:t>Drop in signature jpg</a:t>
            </a:r>
          </a:p>
        </p:txBody>
      </p:sp>
      <p:sp>
        <p:nvSpPr>
          <p:cNvPr id="25" name="Text Placeholder 40">
            <a:extLst>
              <a:ext uri="{FF2B5EF4-FFF2-40B4-BE49-F238E27FC236}">
                <a16:creationId xmlns:a16="http://schemas.microsoft.com/office/drawing/2014/main" id="{4DC2618C-A8CC-584D-B27B-CBA785A78A31}"/>
              </a:ext>
            </a:extLst>
          </p:cNvPr>
          <p:cNvSpPr>
            <a:spLocks noGrp="1"/>
          </p:cNvSpPr>
          <p:nvPr>
            <p:ph type="body" sz="quarter" idx="27" hasCustomPrompt="1"/>
          </p:nvPr>
        </p:nvSpPr>
        <p:spPr>
          <a:xfrm>
            <a:off x="9296400" y="3644446"/>
            <a:ext cx="1982787" cy="787400"/>
          </a:xfrm>
          <a:prstGeom prst="rect">
            <a:avLst/>
          </a:prstGeom>
        </p:spPr>
        <p:txBody>
          <a:bodyPr anchor="t"/>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26" name="Picture Placeholder 4">
            <a:extLst>
              <a:ext uri="{FF2B5EF4-FFF2-40B4-BE49-F238E27FC236}">
                <a16:creationId xmlns:a16="http://schemas.microsoft.com/office/drawing/2014/main" id="{5D0F8153-714D-6B49-B381-610773FCDF61}"/>
              </a:ext>
            </a:extLst>
          </p:cNvPr>
          <p:cNvSpPr>
            <a:spLocks noGrp="1"/>
          </p:cNvSpPr>
          <p:nvPr>
            <p:ph type="pic" sz="quarter" idx="28" hasCustomPrompt="1"/>
          </p:nvPr>
        </p:nvSpPr>
        <p:spPr>
          <a:xfrm>
            <a:off x="9296400" y="3104470"/>
            <a:ext cx="1436909" cy="539976"/>
          </a:xfrm>
        </p:spPr>
        <p:txBody>
          <a:bodyPr anchor="ctr"/>
          <a:lstStyle>
            <a:lvl1pPr algn="ctr">
              <a:defRPr sz="900"/>
            </a:lvl1pPr>
          </a:lstStyle>
          <a:p>
            <a:r>
              <a:rPr lang="en-US" dirty="0"/>
              <a:t>Drop in signature jpg</a:t>
            </a:r>
          </a:p>
        </p:txBody>
      </p:sp>
      <p:sp>
        <p:nvSpPr>
          <p:cNvPr id="27" name="Text Placeholder 40">
            <a:extLst>
              <a:ext uri="{FF2B5EF4-FFF2-40B4-BE49-F238E27FC236}">
                <a16:creationId xmlns:a16="http://schemas.microsoft.com/office/drawing/2014/main" id="{595EC767-5A5E-2D45-A83F-7E76AE3DD4FC}"/>
              </a:ext>
            </a:extLst>
          </p:cNvPr>
          <p:cNvSpPr>
            <a:spLocks noGrp="1"/>
          </p:cNvSpPr>
          <p:nvPr>
            <p:ph type="body" sz="quarter" idx="29" hasCustomPrompt="1"/>
          </p:nvPr>
        </p:nvSpPr>
        <p:spPr>
          <a:xfrm>
            <a:off x="9296400" y="5182960"/>
            <a:ext cx="1982787" cy="787400"/>
          </a:xfrm>
          <a:prstGeom prst="rect">
            <a:avLst/>
          </a:prstGeom>
        </p:spPr>
        <p:txBody>
          <a:bodyPr anchor="t"/>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28" name="Picture Placeholder 4">
            <a:extLst>
              <a:ext uri="{FF2B5EF4-FFF2-40B4-BE49-F238E27FC236}">
                <a16:creationId xmlns:a16="http://schemas.microsoft.com/office/drawing/2014/main" id="{568ABE60-FD2E-9D4B-A59B-BC9A871C9220}"/>
              </a:ext>
            </a:extLst>
          </p:cNvPr>
          <p:cNvSpPr>
            <a:spLocks noGrp="1"/>
          </p:cNvSpPr>
          <p:nvPr>
            <p:ph type="pic" sz="quarter" idx="30" hasCustomPrompt="1"/>
          </p:nvPr>
        </p:nvSpPr>
        <p:spPr>
          <a:xfrm>
            <a:off x="9296400" y="4642984"/>
            <a:ext cx="1436909" cy="539976"/>
          </a:xfrm>
        </p:spPr>
        <p:txBody>
          <a:bodyPr anchor="ctr"/>
          <a:lstStyle>
            <a:lvl1pPr algn="ctr">
              <a:defRPr sz="900"/>
            </a:lvl1pPr>
          </a:lstStyle>
          <a:p>
            <a:r>
              <a:rPr lang="en-US" dirty="0"/>
              <a:t>Drop in signature jpg</a:t>
            </a:r>
          </a:p>
        </p:txBody>
      </p:sp>
    </p:spTree>
    <p:extLst>
      <p:ext uri="{BB962C8B-B14F-4D97-AF65-F5344CB8AC3E}">
        <p14:creationId xmlns:p14="http://schemas.microsoft.com/office/powerpoint/2010/main" val="42580951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No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A3ED70B9-D89B-B445-B6A9-3B264DAA2B14}"/>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dirty="0"/>
              <a:t>Meet the team</a:t>
            </a:r>
          </a:p>
        </p:txBody>
      </p:sp>
      <p:sp>
        <p:nvSpPr>
          <p:cNvPr id="3" name="Picture Placeholder 21">
            <a:extLst>
              <a:ext uri="{FF2B5EF4-FFF2-40B4-BE49-F238E27FC236}">
                <a16:creationId xmlns:a16="http://schemas.microsoft.com/office/drawing/2014/main" id="{90B56C3F-049C-6546-8167-868DFF2B15E1}"/>
              </a:ext>
            </a:extLst>
          </p:cNvPr>
          <p:cNvSpPr>
            <a:spLocks noGrp="1" noChangeAspect="1"/>
          </p:cNvSpPr>
          <p:nvPr>
            <p:ph type="pic" sz="quarter" idx="10"/>
          </p:nvPr>
        </p:nvSpPr>
        <p:spPr>
          <a:xfrm>
            <a:off x="1062038" y="1438275"/>
            <a:ext cx="1262062" cy="1260475"/>
          </a:xfrm>
          <a:prstGeom prst="rect">
            <a:avLst/>
          </a:prstGeom>
        </p:spPr>
        <p:txBody>
          <a:bodyPr/>
          <a:lstStyle/>
          <a:p>
            <a:endParaRPr lang="en-US"/>
          </a:p>
        </p:txBody>
      </p:sp>
      <p:sp>
        <p:nvSpPr>
          <p:cNvPr id="4" name="Text Placeholder 40">
            <a:extLst>
              <a:ext uri="{FF2B5EF4-FFF2-40B4-BE49-F238E27FC236}">
                <a16:creationId xmlns:a16="http://schemas.microsoft.com/office/drawing/2014/main" id="{C5F09BED-1459-1248-B941-4C39EFB8BE02}"/>
              </a:ext>
            </a:extLst>
          </p:cNvPr>
          <p:cNvSpPr>
            <a:spLocks noGrp="1"/>
          </p:cNvSpPr>
          <p:nvPr>
            <p:ph type="body" sz="quarter" idx="19" hasCustomPrompt="1"/>
          </p:nvPr>
        </p:nvSpPr>
        <p:spPr>
          <a:xfrm>
            <a:off x="2404493" y="2127250"/>
            <a:ext cx="1982787" cy="571500"/>
          </a:xfrm>
          <a:prstGeom prst="rect">
            <a:avLst/>
          </a:prstGeom>
        </p:spPr>
        <p:txBody>
          <a:bodyPr anchor="b"/>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6" name="Picture Placeholder 21">
            <a:extLst>
              <a:ext uri="{FF2B5EF4-FFF2-40B4-BE49-F238E27FC236}">
                <a16:creationId xmlns:a16="http://schemas.microsoft.com/office/drawing/2014/main" id="{6CFAC326-5B30-964C-A0EB-D5E51CE7E2DE}"/>
              </a:ext>
            </a:extLst>
          </p:cNvPr>
          <p:cNvSpPr>
            <a:spLocks noGrp="1" noChangeAspect="1"/>
          </p:cNvSpPr>
          <p:nvPr>
            <p:ph type="pic" sz="quarter" idx="11"/>
          </p:nvPr>
        </p:nvSpPr>
        <p:spPr>
          <a:xfrm>
            <a:off x="1062038" y="3133511"/>
            <a:ext cx="1262062" cy="1260475"/>
          </a:xfrm>
          <a:prstGeom prst="rect">
            <a:avLst/>
          </a:prstGeom>
        </p:spPr>
        <p:txBody>
          <a:bodyPr/>
          <a:lstStyle/>
          <a:p>
            <a:endParaRPr lang="en-US"/>
          </a:p>
        </p:txBody>
      </p:sp>
      <p:sp>
        <p:nvSpPr>
          <p:cNvPr id="7" name="Picture Placeholder 21">
            <a:extLst>
              <a:ext uri="{FF2B5EF4-FFF2-40B4-BE49-F238E27FC236}">
                <a16:creationId xmlns:a16="http://schemas.microsoft.com/office/drawing/2014/main" id="{46768F18-9278-334B-BD34-63CC5816D063}"/>
              </a:ext>
            </a:extLst>
          </p:cNvPr>
          <p:cNvSpPr>
            <a:spLocks noGrp="1" noChangeAspect="1"/>
          </p:cNvSpPr>
          <p:nvPr>
            <p:ph type="pic" sz="quarter" idx="12"/>
          </p:nvPr>
        </p:nvSpPr>
        <p:spPr>
          <a:xfrm>
            <a:off x="1062038" y="4787650"/>
            <a:ext cx="1262062" cy="1260475"/>
          </a:xfrm>
          <a:prstGeom prst="rect">
            <a:avLst/>
          </a:prstGeom>
        </p:spPr>
        <p:txBody>
          <a:bodyPr/>
          <a:lstStyle/>
          <a:p>
            <a:endParaRPr lang="en-US"/>
          </a:p>
        </p:txBody>
      </p:sp>
      <p:sp>
        <p:nvSpPr>
          <p:cNvPr id="8" name="Picture Placeholder 21">
            <a:extLst>
              <a:ext uri="{FF2B5EF4-FFF2-40B4-BE49-F238E27FC236}">
                <a16:creationId xmlns:a16="http://schemas.microsoft.com/office/drawing/2014/main" id="{2BDBD233-B4D1-FF46-BCA3-26AB5B728928}"/>
              </a:ext>
            </a:extLst>
          </p:cNvPr>
          <p:cNvSpPr>
            <a:spLocks noGrp="1" noChangeAspect="1"/>
          </p:cNvSpPr>
          <p:nvPr>
            <p:ph type="pic" sz="quarter" idx="13"/>
          </p:nvPr>
        </p:nvSpPr>
        <p:spPr>
          <a:xfrm>
            <a:off x="4668267" y="1438275"/>
            <a:ext cx="1262062" cy="1260475"/>
          </a:xfrm>
          <a:prstGeom prst="rect">
            <a:avLst/>
          </a:prstGeom>
        </p:spPr>
        <p:txBody>
          <a:bodyPr/>
          <a:lstStyle/>
          <a:p>
            <a:endParaRPr lang="en-US"/>
          </a:p>
        </p:txBody>
      </p:sp>
      <p:sp>
        <p:nvSpPr>
          <p:cNvPr id="9" name="Picture Placeholder 21">
            <a:extLst>
              <a:ext uri="{FF2B5EF4-FFF2-40B4-BE49-F238E27FC236}">
                <a16:creationId xmlns:a16="http://schemas.microsoft.com/office/drawing/2014/main" id="{BF621B1F-63E2-BF40-A02A-826E94242EA0}"/>
              </a:ext>
            </a:extLst>
          </p:cNvPr>
          <p:cNvSpPr>
            <a:spLocks noGrp="1" noChangeAspect="1"/>
          </p:cNvSpPr>
          <p:nvPr>
            <p:ph type="pic" sz="quarter" idx="14"/>
          </p:nvPr>
        </p:nvSpPr>
        <p:spPr>
          <a:xfrm>
            <a:off x="4668267" y="3133511"/>
            <a:ext cx="1262062" cy="1260475"/>
          </a:xfrm>
          <a:prstGeom prst="rect">
            <a:avLst/>
          </a:prstGeom>
        </p:spPr>
        <p:txBody>
          <a:bodyPr/>
          <a:lstStyle/>
          <a:p>
            <a:endParaRPr lang="en-US"/>
          </a:p>
        </p:txBody>
      </p:sp>
      <p:sp>
        <p:nvSpPr>
          <p:cNvPr id="10" name="Picture Placeholder 21">
            <a:extLst>
              <a:ext uri="{FF2B5EF4-FFF2-40B4-BE49-F238E27FC236}">
                <a16:creationId xmlns:a16="http://schemas.microsoft.com/office/drawing/2014/main" id="{5978357D-0079-CF43-A0B5-38B82080CD66}"/>
              </a:ext>
            </a:extLst>
          </p:cNvPr>
          <p:cNvSpPr>
            <a:spLocks noGrp="1" noChangeAspect="1"/>
          </p:cNvSpPr>
          <p:nvPr>
            <p:ph type="pic" sz="quarter" idx="15"/>
          </p:nvPr>
        </p:nvSpPr>
        <p:spPr>
          <a:xfrm>
            <a:off x="4668267" y="4787650"/>
            <a:ext cx="1262062" cy="1260475"/>
          </a:xfrm>
          <a:prstGeom prst="rect">
            <a:avLst/>
          </a:prstGeom>
        </p:spPr>
        <p:txBody>
          <a:bodyPr/>
          <a:lstStyle/>
          <a:p>
            <a:endParaRPr lang="en-US"/>
          </a:p>
        </p:txBody>
      </p:sp>
      <p:sp>
        <p:nvSpPr>
          <p:cNvPr id="11" name="Picture Placeholder 21">
            <a:extLst>
              <a:ext uri="{FF2B5EF4-FFF2-40B4-BE49-F238E27FC236}">
                <a16:creationId xmlns:a16="http://schemas.microsoft.com/office/drawing/2014/main" id="{57B9D823-07B1-D046-9AF7-5AFAC72E780B}"/>
              </a:ext>
            </a:extLst>
          </p:cNvPr>
          <p:cNvSpPr>
            <a:spLocks noGrp="1" noChangeAspect="1"/>
          </p:cNvSpPr>
          <p:nvPr>
            <p:ph type="pic" sz="quarter" idx="16"/>
          </p:nvPr>
        </p:nvSpPr>
        <p:spPr>
          <a:xfrm>
            <a:off x="8233400" y="1438275"/>
            <a:ext cx="1262062" cy="1260475"/>
          </a:xfrm>
          <a:prstGeom prst="rect">
            <a:avLst/>
          </a:prstGeom>
        </p:spPr>
        <p:txBody>
          <a:bodyPr/>
          <a:lstStyle/>
          <a:p>
            <a:endParaRPr lang="en-US"/>
          </a:p>
        </p:txBody>
      </p:sp>
      <p:sp>
        <p:nvSpPr>
          <p:cNvPr id="12" name="Picture Placeholder 21">
            <a:extLst>
              <a:ext uri="{FF2B5EF4-FFF2-40B4-BE49-F238E27FC236}">
                <a16:creationId xmlns:a16="http://schemas.microsoft.com/office/drawing/2014/main" id="{2FDF4E6A-9B7E-434C-B035-A6EDE721AB9E}"/>
              </a:ext>
            </a:extLst>
          </p:cNvPr>
          <p:cNvSpPr>
            <a:spLocks noGrp="1" noChangeAspect="1"/>
          </p:cNvSpPr>
          <p:nvPr>
            <p:ph type="pic" sz="quarter" idx="17"/>
          </p:nvPr>
        </p:nvSpPr>
        <p:spPr>
          <a:xfrm>
            <a:off x="8233400" y="3133511"/>
            <a:ext cx="1262062" cy="1260475"/>
          </a:xfrm>
          <a:prstGeom prst="rect">
            <a:avLst/>
          </a:prstGeom>
        </p:spPr>
        <p:txBody>
          <a:bodyPr/>
          <a:lstStyle/>
          <a:p>
            <a:endParaRPr lang="en-US"/>
          </a:p>
        </p:txBody>
      </p:sp>
      <p:sp>
        <p:nvSpPr>
          <p:cNvPr id="13" name="Picture Placeholder 21">
            <a:extLst>
              <a:ext uri="{FF2B5EF4-FFF2-40B4-BE49-F238E27FC236}">
                <a16:creationId xmlns:a16="http://schemas.microsoft.com/office/drawing/2014/main" id="{1D8C990C-C5DA-1642-ACA8-5A9DBD30BF4F}"/>
              </a:ext>
            </a:extLst>
          </p:cNvPr>
          <p:cNvSpPr>
            <a:spLocks noGrp="1" noChangeAspect="1"/>
          </p:cNvSpPr>
          <p:nvPr>
            <p:ph type="pic" sz="quarter" idx="18"/>
          </p:nvPr>
        </p:nvSpPr>
        <p:spPr>
          <a:xfrm>
            <a:off x="8233400" y="4787650"/>
            <a:ext cx="1262062" cy="1260475"/>
          </a:xfrm>
          <a:prstGeom prst="rect">
            <a:avLst/>
          </a:prstGeom>
        </p:spPr>
        <p:txBody>
          <a:bodyPr/>
          <a:lstStyle/>
          <a:p>
            <a:endParaRPr lang="en-US"/>
          </a:p>
        </p:txBody>
      </p:sp>
      <p:sp>
        <p:nvSpPr>
          <p:cNvPr id="14" name="Text Placeholder 40">
            <a:extLst>
              <a:ext uri="{FF2B5EF4-FFF2-40B4-BE49-F238E27FC236}">
                <a16:creationId xmlns:a16="http://schemas.microsoft.com/office/drawing/2014/main" id="{EB1C5E7D-CE3B-E844-8BC2-751695C55C33}"/>
              </a:ext>
            </a:extLst>
          </p:cNvPr>
          <p:cNvSpPr>
            <a:spLocks noGrp="1"/>
          </p:cNvSpPr>
          <p:nvPr>
            <p:ph type="body" sz="quarter" idx="20" hasCustomPrompt="1"/>
          </p:nvPr>
        </p:nvSpPr>
        <p:spPr>
          <a:xfrm>
            <a:off x="2404493" y="3822486"/>
            <a:ext cx="1982787" cy="571500"/>
          </a:xfrm>
          <a:prstGeom prst="rect">
            <a:avLst/>
          </a:prstGeom>
        </p:spPr>
        <p:txBody>
          <a:bodyPr anchor="b"/>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15" name="Text Placeholder 40">
            <a:extLst>
              <a:ext uri="{FF2B5EF4-FFF2-40B4-BE49-F238E27FC236}">
                <a16:creationId xmlns:a16="http://schemas.microsoft.com/office/drawing/2014/main" id="{3C09174F-3BE6-9146-A399-D9FCC8767B72}"/>
              </a:ext>
            </a:extLst>
          </p:cNvPr>
          <p:cNvSpPr>
            <a:spLocks noGrp="1"/>
          </p:cNvSpPr>
          <p:nvPr>
            <p:ph type="body" sz="quarter" idx="21" hasCustomPrompt="1"/>
          </p:nvPr>
        </p:nvSpPr>
        <p:spPr>
          <a:xfrm>
            <a:off x="2404493" y="5486900"/>
            <a:ext cx="1982787" cy="571500"/>
          </a:xfrm>
          <a:prstGeom prst="rect">
            <a:avLst/>
          </a:prstGeom>
        </p:spPr>
        <p:txBody>
          <a:bodyPr anchor="b"/>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16" name="Text Placeholder 40">
            <a:extLst>
              <a:ext uri="{FF2B5EF4-FFF2-40B4-BE49-F238E27FC236}">
                <a16:creationId xmlns:a16="http://schemas.microsoft.com/office/drawing/2014/main" id="{9F3ADE98-A3A9-A544-B5D7-28021E9B8983}"/>
              </a:ext>
            </a:extLst>
          </p:cNvPr>
          <p:cNvSpPr>
            <a:spLocks noGrp="1"/>
          </p:cNvSpPr>
          <p:nvPr>
            <p:ph type="body" sz="quarter" idx="22" hasCustomPrompt="1"/>
          </p:nvPr>
        </p:nvSpPr>
        <p:spPr>
          <a:xfrm>
            <a:off x="6010721" y="2127250"/>
            <a:ext cx="1982787" cy="571500"/>
          </a:xfrm>
          <a:prstGeom prst="rect">
            <a:avLst/>
          </a:prstGeom>
        </p:spPr>
        <p:txBody>
          <a:bodyPr anchor="b"/>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17" name="Text Placeholder 40">
            <a:extLst>
              <a:ext uri="{FF2B5EF4-FFF2-40B4-BE49-F238E27FC236}">
                <a16:creationId xmlns:a16="http://schemas.microsoft.com/office/drawing/2014/main" id="{8C1546FB-39DC-F24F-BAC3-B70B7A950B46}"/>
              </a:ext>
            </a:extLst>
          </p:cNvPr>
          <p:cNvSpPr>
            <a:spLocks noGrp="1"/>
          </p:cNvSpPr>
          <p:nvPr>
            <p:ph type="body" sz="quarter" idx="23" hasCustomPrompt="1"/>
          </p:nvPr>
        </p:nvSpPr>
        <p:spPr>
          <a:xfrm>
            <a:off x="6010721" y="3822486"/>
            <a:ext cx="1982787" cy="571500"/>
          </a:xfrm>
          <a:prstGeom prst="rect">
            <a:avLst/>
          </a:prstGeom>
        </p:spPr>
        <p:txBody>
          <a:bodyPr anchor="b"/>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18" name="Text Placeholder 40">
            <a:extLst>
              <a:ext uri="{FF2B5EF4-FFF2-40B4-BE49-F238E27FC236}">
                <a16:creationId xmlns:a16="http://schemas.microsoft.com/office/drawing/2014/main" id="{822889C1-2F69-DF43-AC44-57AF5D8EE25B}"/>
              </a:ext>
            </a:extLst>
          </p:cNvPr>
          <p:cNvSpPr>
            <a:spLocks noGrp="1"/>
          </p:cNvSpPr>
          <p:nvPr>
            <p:ph type="body" sz="quarter" idx="24" hasCustomPrompt="1"/>
          </p:nvPr>
        </p:nvSpPr>
        <p:spPr>
          <a:xfrm>
            <a:off x="6010721" y="5486900"/>
            <a:ext cx="1982787" cy="571500"/>
          </a:xfrm>
          <a:prstGeom prst="rect">
            <a:avLst/>
          </a:prstGeom>
        </p:spPr>
        <p:txBody>
          <a:bodyPr anchor="b"/>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19" name="Text Placeholder 40">
            <a:extLst>
              <a:ext uri="{FF2B5EF4-FFF2-40B4-BE49-F238E27FC236}">
                <a16:creationId xmlns:a16="http://schemas.microsoft.com/office/drawing/2014/main" id="{22B7D114-2A2D-654D-A78F-96B3B3C933F1}"/>
              </a:ext>
            </a:extLst>
          </p:cNvPr>
          <p:cNvSpPr>
            <a:spLocks noGrp="1"/>
          </p:cNvSpPr>
          <p:nvPr>
            <p:ph type="body" sz="quarter" idx="25" hasCustomPrompt="1"/>
          </p:nvPr>
        </p:nvSpPr>
        <p:spPr>
          <a:xfrm>
            <a:off x="9586128" y="2127250"/>
            <a:ext cx="1982787" cy="571500"/>
          </a:xfrm>
          <a:prstGeom prst="rect">
            <a:avLst/>
          </a:prstGeom>
        </p:spPr>
        <p:txBody>
          <a:bodyPr anchor="b"/>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20" name="Text Placeholder 40">
            <a:extLst>
              <a:ext uri="{FF2B5EF4-FFF2-40B4-BE49-F238E27FC236}">
                <a16:creationId xmlns:a16="http://schemas.microsoft.com/office/drawing/2014/main" id="{9AB64C0E-263B-9044-B85F-7D781ABBD49D}"/>
              </a:ext>
            </a:extLst>
          </p:cNvPr>
          <p:cNvSpPr>
            <a:spLocks noGrp="1"/>
          </p:cNvSpPr>
          <p:nvPr>
            <p:ph type="body" sz="quarter" idx="26" hasCustomPrompt="1"/>
          </p:nvPr>
        </p:nvSpPr>
        <p:spPr>
          <a:xfrm>
            <a:off x="9586128" y="3822486"/>
            <a:ext cx="1982787" cy="571500"/>
          </a:xfrm>
          <a:prstGeom prst="rect">
            <a:avLst/>
          </a:prstGeom>
        </p:spPr>
        <p:txBody>
          <a:bodyPr anchor="b"/>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
        <p:nvSpPr>
          <p:cNvPr id="21" name="Text Placeholder 40">
            <a:extLst>
              <a:ext uri="{FF2B5EF4-FFF2-40B4-BE49-F238E27FC236}">
                <a16:creationId xmlns:a16="http://schemas.microsoft.com/office/drawing/2014/main" id="{9E677A13-3102-0F42-8BFB-C79A99860A1B}"/>
              </a:ext>
            </a:extLst>
          </p:cNvPr>
          <p:cNvSpPr>
            <a:spLocks noGrp="1"/>
          </p:cNvSpPr>
          <p:nvPr>
            <p:ph type="body" sz="quarter" idx="27" hasCustomPrompt="1"/>
          </p:nvPr>
        </p:nvSpPr>
        <p:spPr>
          <a:xfrm>
            <a:off x="9586128" y="5486900"/>
            <a:ext cx="1982787" cy="571500"/>
          </a:xfrm>
          <a:prstGeom prst="rect">
            <a:avLst/>
          </a:prstGeom>
        </p:spPr>
        <p:txBody>
          <a:bodyPr anchor="b"/>
          <a:lstStyle>
            <a:lvl1pPr>
              <a:spcAft>
                <a:spcPts val="0"/>
              </a:spcAft>
              <a:defRPr sz="1000">
                <a:latin typeface="+mn-lt"/>
              </a:defRPr>
            </a:lvl1pPr>
          </a:lstStyle>
          <a:p>
            <a:pPr lvl="0"/>
            <a:r>
              <a:rPr lang="en-US" dirty="0"/>
              <a:t>First Last Name </a:t>
            </a:r>
            <a:br>
              <a:rPr lang="en-US" dirty="0"/>
            </a:br>
            <a:r>
              <a:rPr lang="en-US" dirty="0"/>
              <a:t>Role or title </a:t>
            </a:r>
            <a:br>
              <a:rPr lang="en-US" dirty="0"/>
            </a:br>
            <a:r>
              <a:rPr lang="en-US" dirty="0"/>
              <a:t>Deloitte Digital</a:t>
            </a:r>
            <a:br>
              <a:rPr lang="en-US" dirty="0"/>
            </a:br>
            <a:r>
              <a:rPr lang="en-US" dirty="0" err="1"/>
              <a:t>name@deloitte.com</a:t>
            </a:r>
            <a:endParaRPr lang="en-US" dirty="0"/>
          </a:p>
        </p:txBody>
      </p:sp>
    </p:spTree>
    <p:extLst>
      <p:ext uri="{BB962C8B-B14F-4D97-AF65-F5344CB8AC3E}">
        <p14:creationId xmlns:p14="http://schemas.microsoft.com/office/powerpoint/2010/main" val="31331154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A3ED70B9-D89B-B445-B6A9-3B264DAA2B14}"/>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dirty="0"/>
              <a:t>Your headline goes here when you’re ready</a:t>
            </a:r>
          </a:p>
        </p:txBody>
      </p:sp>
    </p:spTree>
    <p:extLst>
      <p:ext uri="{BB962C8B-B14F-4D97-AF65-F5344CB8AC3E}">
        <p14:creationId xmlns:p14="http://schemas.microsoft.com/office/powerpoint/2010/main" val="167858316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 No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a:t>
            </a:r>
          </a:p>
        </p:txBody>
      </p:sp>
      <p:sp>
        <p:nvSpPr>
          <p:cNvPr id="5" name="Title Placeholder 1">
            <a:extLst>
              <a:ext uri="{FF2B5EF4-FFF2-40B4-BE49-F238E27FC236}">
                <a16:creationId xmlns:a16="http://schemas.microsoft.com/office/drawing/2014/main" id="{3240DA6F-6694-CE4C-9707-FF6CCB817679}"/>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dirty="0"/>
              <a:t>Your headline goes here when you’re ready</a:t>
            </a:r>
          </a:p>
        </p:txBody>
      </p:sp>
    </p:spTree>
    <p:extLst>
      <p:ext uri="{BB962C8B-B14F-4D97-AF65-F5344CB8AC3E}">
        <p14:creationId xmlns:p14="http://schemas.microsoft.com/office/powerpoint/2010/main" val="33997806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19379492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4"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914400" y="1970711"/>
            <a:ext cx="10325100" cy="396272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Rectangle 2">
            <a:extLst>
              <a:ext uri="{FF2B5EF4-FFF2-40B4-BE49-F238E27FC236}">
                <a16:creationId xmlns:a16="http://schemas.microsoft.com/office/drawing/2014/main" id="{F0F4EDEF-F91B-1746-A3E2-4BB9FB7514F9}"/>
              </a:ext>
            </a:extLst>
          </p:cNvPr>
          <p:cNvSpPr>
            <a:spLocks/>
          </p:cNvSpPr>
          <p:nvPr userDrawn="1"/>
        </p:nvSpPr>
        <p:spPr bwMode="auto">
          <a:xfrm>
            <a:off x="914719" y="6286500"/>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fld id="{C84F2FB2-4A16-1542-BD5E-F56870239E74}" type="slidenum">
              <a:rPr lang="en-US" sz="800" smtClean="0">
                <a:solidFill>
                  <a:schemeClr val="bg1">
                    <a:lumMod val="65000"/>
                  </a:schemeClr>
                </a:solidFill>
                <a:latin typeface="Open Sans" charset="0"/>
                <a:ea typeface="Open Sans" charset="0"/>
                <a:cs typeface="Open Sans" charset="0"/>
                <a:sym typeface="Frutiger Next Pro Light" charset="0"/>
              </a:rPr>
              <a:pPr/>
              <a:t>‹#›</a:t>
            </a:fld>
            <a:r>
              <a:rPr lang="en-US" sz="800" dirty="0">
                <a:solidFill>
                  <a:schemeClr val="bg1">
                    <a:lumMod val="65000"/>
                  </a:schemeClr>
                </a:solidFill>
                <a:latin typeface="Open Sans" charset="0"/>
                <a:ea typeface="Open Sans" charset="0"/>
                <a:cs typeface="Open Sans" charset="0"/>
                <a:sym typeface="Frutiger Next Pro Light" charset="0"/>
              </a:rPr>
              <a:t>  |  Copyright © 2022. For information contact Deloitte. </a:t>
            </a:r>
          </a:p>
        </p:txBody>
      </p:sp>
      <p:sp>
        <p:nvSpPr>
          <p:cNvPr id="24" name="Title Placeholder 1">
            <a:extLst>
              <a:ext uri="{FF2B5EF4-FFF2-40B4-BE49-F238E27FC236}">
                <a16:creationId xmlns:a16="http://schemas.microsoft.com/office/drawing/2014/main" id="{773DDC18-17FD-3745-B473-5E03578768C7}"/>
              </a:ext>
            </a:extLst>
          </p:cNvPr>
          <p:cNvSpPr>
            <a:spLocks noGrp="1"/>
          </p:cNvSpPr>
          <p:nvPr>
            <p:ph type="title"/>
          </p:nvPr>
        </p:nvSpPr>
        <p:spPr bwMode="gray">
          <a:xfrm>
            <a:off x="914400" y="1099820"/>
            <a:ext cx="10325100" cy="668019"/>
          </a:xfrm>
          <a:prstGeom prst="rect">
            <a:avLst/>
          </a:prstGeom>
        </p:spPr>
        <p:txBody>
          <a:bodyPr vert="horz" lIns="0" tIns="0" rIns="0" bIns="0" rtlCol="0" anchor="t" anchorCtr="0">
            <a:noAutofit/>
          </a:bodyPr>
          <a:lstStyle/>
          <a:p>
            <a:r>
              <a:rPr lang="en-US" noProof="0" dirty="0"/>
              <a:t>Click to edit Master title style</a:t>
            </a:r>
          </a:p>
        </p:txBody>
      </p:sp>
    </p:spTree>
    <p:extLst>
      <p:ext uri="{BB962C8B-B14F-4D97-AF65-F5344CB8AC3E}">
        <p14:creationId xmlns:p14="http://schemas.microsoft.com/office/powerpoint/2010/main" val="3567475851"/>
      </p:ext>
    </p:extLst>
  </p:cSld>
  <p:clrMap bg1="lt1" tx1="dk1" bg2="lt2" tx2="dk2" accent1="accent1" accent2="accent2" accent3="accent3" accent4="accent4" accent5="accent5" accent6="accent6" hlink="hlink" folHlink="folHlink"/>
  <p:sldLayoutIdLst>
    <p:sldLayoutId id="2147484222" r:id="rId1"/>
    <p:sldLayoutId id="2147484228" r:id="rId2"/>
    <p:sldLayoutId id="2147484164" r:id="rId3"/>
    <p:sldLayoutId id="2147484131" r:id="rId4"/>
    <p:sldLayoutId id="2147484177" r:id="rId5"/>
    <p:sldLayoutId id="2147484247" r:id="rId6"/>
    <p:sldLayoutId id="2147484248" r:id="rId7"/>
    <p:sldLayoutId id="2147484151" r:id="rId8"/>
    <p:sldLayoutId id="2147484145" r:id="rId9"/>
    <p:sldLayoutId id="2147484179" r:id="rId10"/>
    <p:sldLayoutId id="2147484150" r:id="rId11"/>
    <p:sldLayoutId id="2147484183" r:id="rId12"/>
    <p:sldLayoutId id="2147484184" r:id="rId13"/>
    <p:sldLayoutId id="2147484186" r:id="rId14"/>
    <p:sldLayoutId id="2147484223" r:id="rId15"/>
    <p:sldLayoutId id="2147484187" r:id="rId16"/>
    <p:sldLayoutId id="2147484188" r:id="rId17"/>
    <p:sldLayoutId id="2147484146" r:id="rId18"/>
    <p:sldLayoutId id="2147484147" r:id="rId19"/>
    <p:sldLayoutId id="2147484149" r:id="rId20"/>
    <p:sldLayoutId id="2147484165" r:id="rId21"/>
    <p:sldLayoutId id="2147484168" r:id="rId22"/>
    <p:sldLayoutId id="2147484167" r:id="rId23"/>
    <p:sldLayoutId id="2147484169" r:id="rId24"/>
    <p:sldLayoutId id="2147484163" r:id="rId25"/>
    <p:sldLayoutId id="2147484166" r:id="rId26"/>
    <p:sldLayoutId id="2147484161" r:id="rId27"/>
    <p:sldLayoutId id="2147484171" r:id="rId28"/>
    <p:sldLayoutId id="2147484254" r:id="rId29"/>
    <p:sldLayoutId id="2147484257" r:id="rId30"/>
    <p:sldLayoutId id="2147484258" r:id="rId31"/>
    <p:sldLayoutId id="2147484259" r:id="rId32"/>
  </p:sldLayoutIdLst>
  <p:transition>
    <p:fade/>
  </p:transition>
  <p:hf hdr="0" dt="0"/>
  <p:txStyles>
    <p:title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76">
          <p15:clr>
            <a:srgbClr val="F26B43"/>
          </p15:clr>
        </p15:guide>
        <p15:guide id="2" pos="1152">
          <p15:clr>
            <a:srgbClr val="F26B43"/>
          </p15:clr>
        </p15:guide>
        <p15:guide id="3" pos="1248">
          <p15:clr>
            <a:srgbClr val="F26B43"/>
          </p15:clr>
        </p15:guide>
        <p15:guide id="4" pos="1800">
          <p15:clr>
            <a:srgbClr val="F26B43"/>
          </p15:clr>
        </p15:guide>
        <p15:guide id="5" pos="1896">
          <p15:clr>
            <a:srgbClr val="F26B43"/>
          </p15:clr>
        </p15:guide>
        <p15:guide id="6" pos="2472">
          <p15:clr>
            <a:srgbClr val="F26B43"/>
          </p15:clr>
        </p15:guide>
        <p15:guide id="7" pos="2568">
          <p15:clr>
            <a:srgbClr val="F26B43"/>
          </p15:clr>
        </p15:guide>
        <p15:guide id="8" pos="3120">
          <p15:clr>
            <a:srgbClr val="F26B43"/>
          </p15:clr>
        </p15:guide>
        <p15:guide id="9" pos="3216">
          <p15:clr>
            <a:srgbClr val="F26B43"/>
          </p15:clr>
        </p15:guide>
        <p15:guide id="10" pos="3792">
          <p15:clr>
            <a:srgbClr val="F26B43"/>
          </p15:clr>
        </p15:guide>
        <p15:guide id="11" pos="3888">
          <p15:clr>
            <a:srgbClr val="F26B43"/>
          </p15:clr>
        </p15:guide>
        <p15:guide id="12" pos="4440">
          <p15:clr>
            <a:srgbClr val="F26B43"/>
          </p15:clr>
        </p15:guide>
        <p15:guide id="13" pos="4536">
          <p15:clr>
            <a:srgbClr val="F26B43"/>
          </p15:clr>
        </p15:guide>
        <p15:guide id="14" pos="5112">
          <p15:clr>
            <a:srgbClr val="F26B43"/>
          </p15:clr>
        </p15:guide>
        <p15:guide id="15" pos="5208">
          <p15:clr>
            <a:srgbClr val="F26B43"/>
          </p15:clr>
        </p15:guide>
        <p15:guide id="16" pos="5760">
          <p15:clr>
            <a:srgbClr val="F26B43"/>
          </p15:clr>
        </p15:guide>
        <p15:guide id="17" pos="5856">
          <p15:clr>
            <a:srgbClr val="F26B43"/>
          </p15:clr>
        </p15:guide>
        <p15:guide id="18" pos="6432">
          <p15:clr>
            <a:srgbClr val="F26B43"/>
          </p15:clr>
        </p15:guide>
        <p15:guide id="19" pos="6528">
          <p15:clr>
            <a:srgbClr val="F26B43"/>
          </p15:clr>
        </p15:guide>
        <p15:guide id="20" pos="7080">
          <p15:clr>
            <a:srgbClr val="F26B43"/>
          </p15:clr>
        </p15:guide>
        <p15:guide id="21" orient="horz" pos="2160">
          <p15:clr>
            <a:srgbClr val="F26B43"/>
          </p15:clr>
        </p15:guide>
        <p15:guide id="22" orient="horz" pos="360">
          <p15:clr>
            <a:srgbClr val="F26B43"/>
          </p15:clr>
        </p15:guide>
        <p15:guide id="23" orient="horz" pos="3960">
          <p15:clr>
            <a:srgbClr val="F26B43"/>
          </p15:clr>
        </p15:guide>
        <p15:guide id="24" pos="3840">
          <p15:clr>
            <a:srgbClr val="F26B43"/>
          </p15:clr>
        </p15:guide>
        <p15:guide id="25" orient="horz" pos="672">
          <p15:clr>
            <a:srgbClr val="F26B43"/>
          </p15:clr>
        </p15:guide>
        <p15:guide id="26" orient="horz" pos="122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16.svg"/></Relationships>
</file>

<file path=ppt/slides/_rels/slide1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ustomXml" Target="../../customXml/item21.xml"/><Relationship Id="rId1" Type="http://schemas.openxmlformats.org/officeDocument/2006/relationships/customXml" Target="../../customXml/item22.xml"/><Relationship Id="rId5" Type="http://schemas.openxmlformats.org/officeDocument/2006/relationships/image" Target="../media/image18.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customXml" Target="../../customXml/item2.xml"/><Relationship Id="rId1" Type="http://schemas.openxmlformats.org/officeDocument/2006/relationships/customXml" Target="../../customXml/item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ustomXml" Target="../../customXml/item20.xml"/><Relationship Id="rId1" Type="http://schemas.openxmlformats.org/officeDocument/2006/relationships/customXml" Target="../../customXml/item9.xml"/><Relationship Id="rId5" Type="http://schemas.openxmlformats.org/officeDocument/2006/relationships/image" Target="../media/image5.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ustomXml" Target="../../customXml/item14.xml"/><Relationship Id="rId1" Type="http://schemas.openxmlformats.org/officeDocument/2006/relationships/customXml" Target="../../customXml/item5.xml"/><Relationship Id="rId5" Type="http://schemas.openxmlformats.org/officeDocument/2006/relationships/image" Target="../media/image6.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1.svg"/></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12DBAC2B-AB1F-A04B-966F-BC0D1508B599}"/>
              </a:ext>
            </a:extLst>
          </p:cNvPr>
          <p:cNvSpPr>
            <a:spLocks noGrp="1"/>
          </p:cNvSpPr>
          <p:nvPr>
            <p:ph type="body" sz="quarter" idx="11" hasCustomPrompt="1"/>
          </p:nvPr>
        </p:nvSpPr>
        <p:spPr>
          <a:xfrm>
            <a:off x="914399" y="3344276"/>
            <a:ext cx="5580185" cy="1622367"/>
          </a:xfrm>
          <a:prstGeom prst="rect">
            <a:avLst/>
          </a:prstGeom>
        </p:spPr>
        <p:txBody>
          <a:bodyPr wrap="square">
            <a:spAutoFit/>
          </a:bodyPr>
          <a:lstStyle>
            <a:lvl1pPr marL="0" indent="0">
              <a:lnSpc>
                <a:spcPts val="4340"/>
              </a:lnSpc>
              <a:buFontTx/>
              <a:buNone/>
              <a:defRPr sz="32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Serverless application for multiple databases </a:t>
            </a:r>
            <a:br>
              <a:rPr lang="en-US" dirty="0"/>
            </a:br>
            <a:r>
              <a:rPr lang="en-US" dirty="0"/>
              <a:t>governance on AWS</a:t>
            </a:r>
          </a:p>
        </p:txBody>
      </p:sp>
      <p:sp>
        <p:nvSpPr>
          <p:cNvPr id="9" name="Text Placeholder 2">
            <a:extLst>
              <a:ext uri="{FF2B5EF4-FFF2-40B4-BE49-F238E27FC236}">
                <a16:creationId xmlns:a16="http://schemas.microsoft.com/office/drawing/2014/main" id="{6F325964-CC78-5046-82A2-C974643084AB}"/>
              </a:ext>
            </a:extLst>
          </p:cNvPr>
          <p:cNvSpPr>
            <a:spLocks noGrp="1"/>
          </p:cNvSpPr>
          <p:nvPr>
            <p:ph type="body" sz="quarter" idx="12" hasCustomPrompt="1"/>
          </p:nvPr>
        </p:nvSpPr>
        <p:spPr>
          <a:xfrm>
            <a:off x="902970" y="274830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sz="1600" dirty="0"/>
              <a:t>April, 22</a:t>
            </a:r>
            <a:r>
              <a:rPr lang="en-US" sz="1600" baseline="30000" dirty="0"/>
              <a:t>nd</a:t>
            </a:r>
            <a:r>
              <a:rPr lang="en-US" sz="1600" dirty="0"/>
              <a:t> 2022</a:t>
            </a:r>
          </a:p>
        </p:txBody>
      </p:sp>
      <p:sp>
        <p:nvSpPr>
          <p:cNvPr id="10" name="Text Placeholder 10">
            <a:extLst>
              <a:ext uri="{FF2B5EF4-FFF2-40B4-BE49-F238E27FC236}">
                <a16:creationId xmlns:a16="http://schemas.microsoft.com/office/drawing/2014/main" id="{993B3EE0-1424-D843-A197-B2C45CCB45F5}"/>
              </a:ext>
            </a:extLst>
          </p:cNvPr>
          <p:cNvSpPr>
            <a:spLocks noGrp="1"/>
          </p:cNvSpPr>
          <p:nvPr>
            <p:ph type="body" sz="quarter" idx="15" hasCustomPrompt="1"/>
          </p:nvPr>
        </p:nvSpPr>
        <p:spPr>
          <a:xfrm>
            <a:off x="914400" y="5104812"/>
            <a:ext cx="4038600" cy="709834"/>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it-IT" sz="1400" dirty="0"/>
              <a:t>Michael Daniel Naguib – 923425</a:t>
            </a:r>
          </a:p>
          <a:p>
            <a:r>
              <a:rPr lang="it-IT" sz="1400" dirty="0"/>
              <a:t>Relatore: Elena Pagani</a:t>
            </a:r>
          </a:p>
        </p:txBody>
      </p:sp>
      <p:grpSp>
        <p:nvGrpSpPr>
          <p:cNvPr id="5" name="Group 4" descr="Deloitte Digital logo">
            <a:extLst>
              <a:ext uri="{FF2B5EF4-FFF2-40B4-BE49-F238E27FC236}">
                <a16:creationId xmlns:a16="http://schemas.microsoft.com/office/drawing/2014/main" id="{4B7E6C36-17B1-4B65-91E2-3EA688EEEE3C}"/>
              </a:ext>
            </a:extLst>
          </p:cNvPr>
          <p:cNvGrpSpPr>
            <a:grpSpLocks noChangeAspect="1"/>
          </p:cNvGrpSpPr>
          <p:nvPr/>
        </p:nvGrpSpPr>
        <p:grpSpPr bwMode="auto">
          <a:xfrm>
            <a:off x="914400" y="457446"/>
            <a:ext cx="1190751" cy="222493"/>
            <a:chOff x="2684" y="1627"/>
            <a:chExt cx="2312" cy="432"/>
          </a:xfrm>
        </p:grpSpPr>
        <p:sp>
          <p:nvSpPr>
            <p:cNvPr id="6" name="Freeform 5">
              <a:extLst>
                <a:ext uri="{FF2B5EF4-FFF2-40B4-BE49-F238E27FC236}">
                  <a16:creationId xmlns:a16="http://schemas.microsoft.com/office/drawing/2014/main" id="{87412071-E023-40A9-BDBF-4DDB48D5BF23}"/>
                </a:ext>
              </a:extLst>
            </p:cNvPr>
            <p:cNvSpPr>
              <a:spLocks/>
            </p:cNvSpPr>
            <p:nvPr/>
          </p:nvSpPr>
          <p:spPr bwMode="auto">
            <a:xfrm>
              <a:off x="4873" y="1937"/>
              <a:ext cx="123" cy="122"/>
            </a:xfrm>
            <a:custGeom>
              <a:avLst/>
              <a:gdLst>
                <a:gd name="T0" fmla="*/ 0 w 245"/>
                <a:gd name="T1" fmla="*/ 123 h 245"/>
                <a:gd name="T2" fmla="*/ 3 w 245"/>
                <a:gd name="T3" fmla="*/ 98 h 245"/>
                <a:gd name="T4" fmla="*/ 10 w 245"/>
                <a:gd name="T5" fmla="*/ 75 h 245"/>
                <a:gd name="T6" fmla="*/ 21 w 245"/>
                <a:gd name="T7" fmla="*/ 54 h 245"/>
                <a:gd name="T8" fmla="*/ 36 w 245"/>
                <a:gd name="T9" fmla="*/ 36 h 245"/>
                <a:gd name="T10" fmla="*/ 54 w 245"/>
                <a:gd name="T11" fmla="*/ 21 h 245"/>
                <a:gd name="T12" fmla="*/ 75 w 245"/>
                <a:gd name="T13" fmla="*/ 9 h 245"/>
                <a:gd name="T14" fmla="*/ 98 w 245"/>
                <a:gd name="T15" fmla="*/ 2 h 245"/>
                <a:gd name="T16" fmla="*/ 123 w 245"/>
                <a:gd name="T17" fmla="*/ 0 h 245"/>
                <a:gd name="T18" fmla="*/ 134 w 245"/>
                <a:gd name="T19" fmla="*/ 1 h 245"/>
                <a:gd name="T20" fmla="*/ 160 w 245"/>
                <a:gd name="T21" fmla="*/ 5 h 245"/>
                <a:gd name="T22" fmla="*/ 181 w 245"/>
                <a:gd name="T23" fmla="*/ 15 h 245"/>
                <a:gd name="T24" fmla="*/ 200 w 245"/>
                <a:gd name="T25" fmla="*/ 28 h 245"/>
                <a:gd name="T26" fmla="*/ 217 w 245"/>
                <a:gd name="T27" fmla="*/ 44 h 245"/>
                <a:gd name="T28" fmla="*/ 230 w 245"/>
                <a:gd name="T29" fmla="*/ 64 h 245"/>
                <a:gd name="T30" fmla="*/ 239 w 245"/>
                <a:gd name="T31" fmla="*/ 86 h 245"/>
                <a:gd name="T32" fmla="*/ 245 w 245"/>
                <a:gd name="T33" fmla="*/ 110 h 245"/>
                <a:gd name="T34" fmla="*/ 245 w 245"/>
                <a:gd name="T35" fmla="*/ 123 h 245"/>
                <a:gd name="T36" fmla="*/ 242 w 245"/>
                <a:gd name="T37" fmla="*/ 147 h 245"/>
                <a:gd name="T38" fmla="*/ 235 w 245"/>
                <a:gd name="T39" fmla="*/ 171 h 245"/>
                <a:gd name="T40" fmla="*/ 224 w 245"/>
                <a:gd name="T41" fmla="*/ 192 h 245"/>
                <a:gd name="T42" fmla="*/ 209 w 245"/>
                <a:gd name="T43" fmla="*/ 210 h 245"/>
                <a:gd name="T44" fmla="*/ 190 w 245"/>
                <a:gd name="T45" fmla="*/ 224 h 245"/>
                <a:gd name="T46" fmla="*/ 171 w 245"/>
                <a:gd name="T47" fmla="*/ 235 h 245"/>
                <a:gd name="T48" fmla="*/ 147 w 245"/>
                <a:gd name="T49" fmla="*/ 242 h 245"/>
                <a:gd name="T50" fmla="*/ 123 w 245"/>
                <a:gd name="T51" fmla="*/ 245 h 245"/>
                <a:gd name="T52" fmla="*/ 110 w 245"/>
                <a:gd name="T53" fmla="*/ 245 h 245"/>
                <a:gd name="T54" fmla="*/ 87 w 245"/>
                <a:gd name="T55" fmla="*/ 239 h 245"/>
                <a:gd name="T56" fmla="*/ 64 w 245"/>
                <a:gd name="T57" fmla="*/ 231 h 245"/>
                <a:gd name="T58" fmla="*/ 45 w 245"/>
                <a:gd name="T59" fmla="*/ 217 h 245"/>
                <a:gd name="T60" fmla="*/ 28 w 245"/>
                <a:gd name="T61" fmla="*/ 200 h 245"/>
                <a:gd name="T62" fmla="*/ 15 w 245"/>
                <a:gd name="T63" fmla="*/ 180 h 245"/>
                <a:gd name="T64" fmla="*/ 5 w 245"/>
                <a:gd name="T65" fmla="*/ 159 h 245"/>
                <a:gd name="T66" fmla="*/ 1 w 245"/>
                <a:gd name="T67" fmla="*/ 1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5" h="245">
                  <a:moveTo>
                    <a:pt x="0" y="123"/>
                  </a:moveTo>
                  <a:lnTo>
                    <a:pt x="0" y="123"/>
                  </a:lnTo>
                  <a:lnTo>
                    <a:pt x="1" y="110"/>
                  </a:lnTo>
                  <a:lnTo>
                    <a:pt x="3" y="98"/>
                  </a:lnTo>
                  <a:lnTo>
                    <a:pt x="5" y="86"/>
                  </a:lnTo>
                  <a:lnTo>
                    <a:pt x="10" y="75"/>
                  </a:lnTo>
                  <a:lnTo>
                    <a:pt x="15" y="64"/>
                  </a:lnTo>
                  <a:lnTo>
                    <a:pt x="21" y="54"/>
                  </a:lnTo>
                  <a:lnTo>
                    <a:pt x="28" y="44"/>
                  </a:lnTo>
                  <a:lnTo>
                    <a:pt x="36" y="36"/>
                  </a:lnTo>
                  <a:lnTo>
                    <a:pt x="45" y="28"/>
                  </a:lnTo>
                  <a:lnTo>
                    <a:pt x="54" y="21"/>
                  </a:lnTo>
                  <a:lnTo>
                    <a:pt x="64" y="15"/>
                  </a:lnTo>
                  <a:lnTo>
                    <a:pt x="75" y="9"/>
                  </a:lnTo>
                  <a:lnTo>
                    <a:pt x="87" y="5"/>
                  </a:lnTo>
                  <a:lnTo>
                    <a:pt x="98" y="2"/>
                  </a:lnTo>
                  <a:lnTo>
                    <a:pt x="110" y="1"/>
                  </a:lnTo>
                  <a:lnTo>
                    <a:pt x="123" y="0"/>
                  </a:lnTo>
                  <a:lnTo>
                    <a:pt x="123" y="0"/>
                  </a:lnTo>
                  <a:lnTo>
                    <a:pt x="134" y="1"/>
                  </a:lnTo>
                  <a:lnTo>
                    <a:pt x="147" y="2"/>
                  </a:lnTo>
                  <a:lnTo>
                    <a:pt x="160" y="5"/>
                  </a:lnTo>
                  <a:lnTo>
                    <a:pt x="171" y="9"/>
                  </a:lnTo>
                  <a:lnTo>
                    <a:pt x="181" y="15"/>
                  </a:lnTo>
                  <a:lnTo>
                    <a:pt x="190" y="21"/>
                  </a:lnTo>
                  <a:lnTo>
                    <a:pt x="200" y="28"/>
                  </a:lnTo>
                  <a:lnTo>
                    <a:pt x="209" y="36"/>
                  </a:lnTo>
                  <a:lnTo>
                    <a:pt x="217" y="44"/>
                  </a:lnTo>
                  <a:lnTo>
                    <a:pt x="224" y="54"/>
                  </a:lnTo>
                  <a:lnTo>
                    <a:pt x="230" y="64"/>
                  </a:lnTo>
                  <a:lnTo>
                    <a:pt x="235" y="75"/>
                  </a:lnTo>
                  <a:lnTo>
                    <a:pt x="239" y="86"/>
                  </a:lnTo>
                  <a:lnTo>
                    <a:pt x="242" y="98"/>
                  </a:lnTo>
                  <a:lnTo>
                    <a:pt x="245" y="110"/>
                  </a:lnTo>
                  <a:lnTo>
                    <a:pt x="245" y="123"/>
                  </a:lnTo>
                  <a:lnTo>
                    <a:pt x="245" y="123"/>
                  </a:lnTo>
                  <a:lnTo>
                    <a:pt x="245" y="136"/>
                  </a:lnTo>
                  <a:lnTo>
                    <a:pt x="242" y="147"/>
                  </a:lnTo>
                  <a:lnTo>
                    <a:pt x="239" y="159"/>
                  </a:lnTo>
                  <a:lnTo>
                    <a:pt x="235" y="171"/>
                  </a:lnTo>
                  <a:lnTo>
                    <a:pt x="230" y="180"/>
                  </a:lnTo>
                  <a:lnTo>
                    <a:pt x="224" y="192"/>
                  </a:lnTo>
                  <a:lnTo>
                    <a:pt x="217" y="200"/>
                  </a:lnTo>
                  <a:lnTo>
                    <a:pt x="209" y="210"/>
                  </a:lnTo>
                  <a:lnTo>
                    <a:pt x="200" y="217"/>
                  </a:lnTo>
                  <a:lnTo>
                    <a:pt x="190" y="224"/>
                  </a:lnTo>
                  <a:lnTo>
                    <a:pt x="181" y="231"/>
                  </a:lnTo>
                  <a:lnTo>
                    <a:pt x="171" y="235"/>
                  </a:lnTo>
                  <a:lnTo>
                    <a:pt x="160" y="239"/>
                  </a:lnTo>
                  <a:lnTo>
                    <a:pt x="147" y="242"/>
                  </a:lnTo>
                  <a:lnTo>
                    <a:pt x="134" y="245"/>
                  </a:lnTo>
                  <a:lnTo>
                    <a:pt x="123" y="245"/>
                  </a:lnTo>
                  <a:lnTo>
                    <a:pt x="123" y="245"/>
                  </a:lnTo>
                  <a:lnTo>
                    <a:pt x="110" y="245"/>
                  </a:lnTo>
                  <a:lnTo>
                    <a:pt x="98" y="242"/>
                  </a:lnTo>
                  <a:lnTo>
                    <a:pt x="87" y="239"/>
                  </a:lnTo>
                  <a:lnTo>
                    <a:pt x="75" y="235"/>
                  </a:lnTo>
                  <a:lnTo>
                    <a:pt x="64" y="231"/>
                  </a:lnTo>
                  <a:lnTo>
                    <a:pt x="54" y="224"/>
                  </a:lnTo>
                  <a:lnTo>
                    <a:pt x="45" y="217"/>
                  </a:lnTo>
                  <a:lnTo>
                    <a:pt x="36" y="210"/>
                  </a:lnTo>
                  <a:lnTo>
                    <a:pt x="28" y="200"/>
                  </a:lnTo>
                  <a:lnTo>
                    <a:pt x="21" y="192"/>
                  </a:lnTo>
                  <a:lnTo>
                    <a:pt x="15" y="180"/>
                  </a:lnTo>
                  <a:lnTo>
                    <a:pt x="10" y="171"/>
                  </a:lnTo>
                  <a:lnTo>
                    <a:pt x="5" y="159"/>
                  </a:lnTo>
                  <a:lnTo>
                    <a:pt x="3" y="147"/>
                  </a:lnTo>
                  <a:lnTo>
                    <a:pt x="1" y="136"/>
                  </a:lnTo>
                  <a:lnTo>
                    <a:pt x="0" y="123"/>
                  </a:lnTo>
                  <a:close/>
                </a:path>
              </a:pathLst>
            </a:custGeom>
            <a:solidFill>
              <a:srgbClr val="75C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2414E750-79F9-40E9-A246-E6DF8AFF3A0B}"/>
                </a:ext>
              </a:extLst>
            </p:cNvPr>
            <p:cNvSpPr>
              <a:spLocks/>
            </p:cNvSpPr>
            <p:nvPr/>
          </p:nvSpPr>
          <p:spPr bwMode="auto">
            <a:xfrm>
              <a:off x="4873" y="1937"/>
              <a:ext cx="123" cy="122"/>
            </a:xfrm>
            <a:custGeom>
              <a:avLst/>
              <a:gdLst>
                <a:gd name="T0" fmla="*/ 0 w 245"/>
                <a:gd name="T1" fmla="*/ 123 h 245"/>
                <a:gd name="T2" fmla="*/ 3 w 245"/>
                <a:gd name="T3" fmla="*/ 98 h 245"/>
                <a:gd name="T4" fmla="*/ 10 w 245"/>
                <a:gd name="T5" fmla="*/ 75 h 245"/>
                <a:gd name="T6" fmla="*/ 21 w 245"/>
                <a:gd name="T7" fmla="*/ 54 h 245"/>
                <a:gd name="T8" fmla="*/ 36 w 245"/>
                <a:gd name="T9" fmla="*/ 36 h 245"/>
                <a:gd name="T10" fmla="*/ 54 w 245"/>
                <a:gd name="T11" fmla="*/ 21 h 245"/>
                <a:gd name="T12" fmla="*/ 75 w 245"/>
                <a:gd name="T13" fmla="*/ 9 h 245"/>
                <a:gd name="T14" fmla="*/ 98 w 245"/>
                <a:gd name="T15" fmla="*/ 2 h 245"/>
                <a:gd name="T16" fmla="*/ 123 w 245"/>
                <a:gd name="T17" fmla="*/ 0 h 245"/>
                <a:gd name="T18" fmla="*/ 134 w 245"/>
                <a:gd name="T19" fmla="*/ 1 h 245"/>
                <a:gd name="T20" fmla="*/ 160 w 245"/>
                <a:gd name="T21" fmla="*/ 5 h 245"/>
                <a:gd name="T22" fmla="*/ 181 w 245"/>
                <a:gd name="T23" fmla="*/ 15 h 245"/>
                <a:gd name="T24" fmla="*/ 200 w 245"/>
                <a:gd name="T25" fmla="*/ 28 h 245"/>
                <a:gd name="T26" fmla="*/ 217 w 245"/>
                <a:gd name="T27" fmla="*/ 44 h 245"/>
                <a:gd name="T28" fmla="*/ 230 w 245"/>
                <a:gd name="T29" fmla="*/ 64 h 245"/>
                <a:gd name="T30" fmla="*/ 239 w 245"/>
                <a:gd name="T31" fmla="*/ 86 h 245"/>
                <a:gd name="T32" fmla="*/ 245 w 245"/>
                <a:gd name="T33" fmla="*/ 110 h 245"/>
                <a:gd name="T34" fmla="*/ 245 w 245"/>
                <a:gd name="T35" fmla="*/ 123 h 245"/>
                <a:gd name="T36" fmla="*/ 242 w 245"/>
                <a:gd name="T37" fmla="*/ 147 h 245"/>
                <a:gd name="T38" fmla="*/ 235 w 245"/>
                <a:gd name="T39" fmla="*/ 171 h 245"/>
                <a:gd name="T40" fmla="*/ 224 w 245"/>
                <a:gd name="T41" fmla="*/ 192 h 245"/>
                <a:gd name="T42" fmla="*/ 209 w 245"/>
                <a:gd name="T43" fmla="*/ 210 h 245"/>
                <a:gd name="T44" fmla="*/ 190 w 245"/>
                <a:gd name="T45" fmla="*/ 224 h 245"/>
                <a:gd name="T46" fmla="*/ 171 w 245"/>
                <a:gd name="T47" fmla="*/ 235 h 245"/>
                <a:gd name="T48" fmla="*/ 147 w 245"/>
                <a:gd name="T49" fmla="*/ 242 h 245"/>
                <a:gd name="T50" fmla="*/ 123 w 245"/>
                <a:gd name="T51" fmla="*/ 245 h 245"/>
                <a:gd name="T52" fmla="*/ 110 w 245"/>
                <a:gd name="T53" fmla="*/ 245 h 245"/>
                <a:gd name="T54" fmla="*/ 87 w 245"/>
                <a:gd name="T55" fmla="*/ 239 h 245"/>
                <a:gd name="T56" fmla="*/ 64 w 245"/>
                <a:gd name="T57" fmla="*/ 231 h 245"/>
                <a:gd name="T58" fmla="*/ 45 w 245"/>
                <a:gd name="T59" fmla="*/ 217 h 245"/>
                <a:gd name="T60" fmla="*/ 28 w 245"/>
                <a:gd name="T61" fmla="*/ 200 h 245"/>
                <a:gd name="T62" fmla="*/ 15 w 245"/>
                <a:gd name="T63" fmla="*/ 180 h 245"/>
                <a:gd name="T64" fmla="*/ 5 w 245"/>
                <a:gd name="T65" fmla="*/ 159 h 245"/>
                <a:gd name="T66" fmla="*/ 1 w 245"/>
                <a:gd name="T67" fmla="*/ 1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5" h="245">
                  <a:moveTo>
                    <a:pt x="0" y="123"/>
                  </a:moveTo>
                  <a:lnTo>
                    <a:pt x="0" y="123"/>
                  </a:lnTo>
                  <a:lnTo>
                    <a:pt x="1" y="110"/>
                  </a:lnTo>
                  <a:lnTo>
                    <a:pt x="3" y="98"/>
                  </a:lnTo>
                  <a:lnTo>
                    <a:pt x="5" y="86"/>
                  </a:lnTo>
                  <a:lnTo>
                    <a:pt x="10" y="75"/>
                  </a:lnTo>
                  <a:lnTo>
                    <a:pt x="15" y="64"/>
                  </a:lnTo>
                  <a:lnTo>
                    <a:pt x="21" y="54"/>
                  </a:lnTo>
                  <a:lnTo>
                    <a:pt x="28" y="44"/>
                  </a:lnTo>
                  <a:lnTo>
                    <a:pt x="36" y="36"/>
                  </a:lnTo>
                  <a:lnTo>
                    <a:pt x="45" y="28"/>
                  </a:lnTo>
                  <a:lnTo>
                    <a:pt x="54" y="21"/>
                  </a:lnTo>
                  <a:lnTo>
                    <a:pt x="64" y="15"/>
                  </a:lnTo>
                  <a:lnTo>
                    <a:pt x="75" y="9"/>
                  </a:lnTo>
                  <a:lnTo>
                    <a:pt x="87" y="5"/>
                  </a:lnTo>
                  <a:lnTo>
                    <a:pt x="98" y="2"/>
                  </a:lnTo>
                  <a:lnTo>
                    <a:pt x="110" y="1"/>
                  </a:lnTo>
                  <a:lnTo>
                    <a:pt x="123" y="0"/>
                  </a:lnTo>
                  <a:lnTo>
                    <a:pt x="123" y="0"/>
                  </a:lnTo>
                  <a:lnTo>
                    <a:pt x="134" y="1"/>
                  </a:lnTo>
                  <a:lnTo>
                    <a:pt x="147" y="2"/>
                  </a:lnTo>
                  <a:lnTo>
                    <a:pt x="160" y="5"/>
                  </a:lnTo>
                  <a:lnTo>
                    <a:pt x="171" y="9"/>
                  </a:lnTo>
                  <a:lnTo>
                    <a:pt x="181" y="15"/>
                  </a:lnTo>
                  <a:lnTo>
                    <a:pt x="190" y="21"/>
                  </a:lnTo>
                  <a:lnTo>
                    <a:pt x="200" y="28"/>
                  </a:lnTo>
                  <a:lnTo>
                    <a:pt x="209" y="36"/>
                  </a:lnTo>
                  <a:lnTo>
                    <a:pt x="217" y="44"/>
                  </a:lnTo>
                  <a:lnTo>
                    <a:pt x="224" y="54"/>
                  </a:lnTo>
                  <a:lnTo>
                    <a:pt x="230" y="64"/>
                  </a:lnTo>
                  <a:lnTo>
                    <a:pt x="235" y="75"/>
                  </a:lnTo>
                  <a:lnTo>
                    <a:pt x="239" y="86"/>
                  </a:lnTo>
                  <a:lnTo>
                    <a:pt x="242" y="98"/>
                  </a:lnTo>
                  <a:lnTo>
                    <a:pt x="245" y="110"/>
                  </a:lnTo>
                  <a:lnTo>
                    <a:pt x="245" y="123"/>
                  </a:lnTo>
                  <a:lnTo>
                    <a:pt x="245" y="123"/>
                  </a:lnTo>
                  <a:lnTo>
                    <a:pt x="245" y="136"/>
                  </a:lnTo>
                  <a:lnTo>
                    <a:pt x="242" y="147"/>
                  </a:lnTo>
                  <a:lnTo>
                    <a:pt x="239" y="159"/>
                  </a:lnTo>
                  <a:lnTo>
                    <a:pt x="235" y="171"/>
                  </a:lnTo>
                  <a:lnTo>
                    <a:pt x="230" y="180"/>
                  </a:lnTo>
                  <a:lnTo>
                    <a:pt x="224" y="192"/>
                  </a:lnTo>
                  <a:lnTo>
                    <a:pt x="217" y="200"/>
                  </a:lnTo>
                  <a:lnTo>
                    <a:pt x="209" y="210"/>
                  </a:lnTo>
                  <a:lnTo>
                    <a:pt x="200" y="217"/>
                  </a:lnTo>
                  <a:lnTo>
                    <a:pt x="190" y="224"/>
                  </a:lnTo>
                  <a:lnTo>
                    <a:pt x="181" y="231"/>
                  </a:lnTo>
                  <a:lnTo>
                    <a:pt x="171" y="235"/>
                  </a:lnTo>
                  <a:lnTo>
                    <a:pt x="160" y="239"/>
                  </a:lnTo>
                  <a:lnTo>
                    <a:pt x="147" y="242"/>
                  </a:lnTo>
                  <a:lnTo>
                    <a:pt x="134" y="245"/>
                  </a:lnTo>
                  <a:lnTo>
                    <a:pt x="123" y="245"/>
                  </a:lnTo>
                  <a:lnTo>
                    <a:pt x="123" y="245"/>
                  </a:lnTo>
                  <a:lnTo>
                    <a:pt x="110" y="245"/>
                  </a:lnTo>
                  <a:lnTo>
                    <a:pt x="98" y="242"/>
                  </a:lnTo>
                  <a:lnTo>
                    <a:pt x="87" y="239"/>
                  </a:lnTo>
                  <a:lnTo>
                    <a:pt x="75" y="235"/>
                  </a:lnTo>
                  <a:lnTo>
                    <a:pt x="64" y="231"/>
                  </a:lnTo>
                  <a:lnTo>
                    <a:pt x="54" y="224"/>
                  </a:lnTo>
                  <a:lnTo>
                    <a:pt x="45" y="217"/>
                  </a:lnTo>
                  <a:lnTo>
                    <a:pt x="36" y="210"/>
                  </a:lnTo>
                  <a:lnTo>
                    <a:pt x="28" y="200"/>
                  </a:lnTo>
                  <a:lnTo>
                    <a:pt x="21" y="192"/>
                  </a:lnTo>
                  <a:lnTo>
                    <a:pt x="15" y="180"/>
                  </a:lnTo>
                  <a:lnTo>
                    <a:pt x="10" y="171"/>
                  </a:lnTo>
                  <a:lnTo>
                    <a:pt x="5" y="159"/>
                  </a:lnTo>
                  <a:lnTo>
                    <a:pt x="3" y="147"/>
                  </a:lnTo>
                  <a:lnTo>
                    <a:pt x="1" y="136"/>
                  </a:lnTo>
                  <a:lnTo>
                    <a:pt x="0" y="1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7">
              <a:extLst>
                <a:ext uri="{FF2B5EF4-FFF2-40B4-BE49-F238E27FC236}">
                  <a16:creationId xmlns:a16="http://schemas.microsoft.com/office/drawing/2014/main" id="{645163B1-5A7D-4B65-8169-6F9B8BD872F9}"/>
                </a:ext>
              </a:extLst>
            </p:cNvPr>
            <p:cNvSpPr>
              <a:spLocks noEditPoints="1"/>
            </p:cNvSpPr>
            <p:nvPr/>
          </p:nvSpPr>
          <p:spPr bwMode="auto">
            <a:xfrm>
              <a:off x="2684" y="1629"/>
              <a:ext cx="351" cy="423"/>
            </a:xfrm>
            <a:custGeom>
              <a:avLst/>
              <a:gdLst>
                <a:gd name="T0" fmla="*/ 702 w 702"/>
                <a:gd name="T1" fmla="*/ 405 h 847"/>
                <a:gd name="T2" fmla="*/ 699 w 702"/>
                <a:gd name="T3" fmla="*/ 457 h 847"/>
                <a:gd name="T4" fmla="*/ 695 w 702"/>
                <a:gd name="T5" fmla="*/ 506 h 847"/>
                <a:gd name="T6" fmla="*/ 685 w 702"/>
                <a:gd name="T7" fmla="*/ 551 h 847"/>
                <a:gd name="T8" fmla="*/ 673 w 702"/>
                <a:gd name="T9" fmla="*/ 593 h 847"/>
                <a:gd name="T10" fmla="*/ 657 w 702"/>
                <a:gd name="T11" fmla="*/ 632 h 847"/>
                <a:gd name="T12" fmla="*/ 638 w 702"/>
                <a:gd name="T13" fmla="*/ 669 h 847"/>
                <a:gd name="T14" fmla="*/ 614 w 702"/>
                <a:gd name="T15" fmla="*/ 702 h 847"/>
                <a:gd name="T16" fmla="*/ 587 w 702"/>
                <a:gd name="T17" fmla="*/ 733 h 847"/>
                <a:gd name="T18" fmla="*/ 573 w 702"/>
                <a:gd name="T19" fmla="*/ 746 h 847"/>
                <a:gd name="T20" fmla="*/ 542 w 702"/>
                <a:gd name="T21" fmla="*/ 771 h 847"/>
                <a:gd name="T22" fmla="*/ 507 w 702"/>
                <a:gd name="T23" fmla="*/ 794 h 847"/>
                <a:gd name="T24" fmla="*/ 471 w 702"/>
                <a:gd name="T25" fmla="*/ 812 h 847"/>
                <a:gd name="T26" fmla="*/ 430 w 702"/>
                <a:gd name="T27" fmla="*/ 826 h 847"/>
                <a:gd name="T28" fmla="*/ 387 w 702"/>
                <a:gd name="T29" fmla="*/ 836 h 847"/>
                <a:gd name="T30" fmla="*/ 342 w 702"/>
                <a:gd name="T31" fmla="*/ 844 h 847"/>
                <a:gd name="T32" fmla="*/ 293 w 702"/>
                <a:gd name="T33" fmla="*/ 847 h 847"/>
                <a:gd name="T34" fmla="*/ 0 w 702"/>
                <a:gd name="T35" fmla="*/ 847 h 847"/>
                <a:gd name="T36" fmla="*/ 286 w 702"/>
                <a:gd name="T37" fmla="*/ 0 h 847"/>
                <a:gd name="T38" fmla="*/ 334 w 702"/>
                <a:gd name="T39" fmla="*/ 2 h 847"/>
                <a:gd name="T40" fmla="*/ 380 w 702"/>
                <a:gd name="T41" fmla="*/ 6 h 847"/>
                <a:gd name="T42" fmla="*/ 422 w 702"/>
                <a:gd name="T43" fmla="*/ 14 h 847"/>
                <a:gd name="T44" fmla="*/ 463 w 702"/>
                <a:gd name="T45" fmla="*/ 25 h 847"/>
                <a:gd name="T46" fmla="*/ 499 w 702"/>
                <a:gd name="T47" fmla="*/ 41 h 847"/>
                <a:gd name="T48" fmla="*/ 534 w 702"/>
                <a:gd name="T49" fmla="*/ 59 h 847"/>
                <a:gd name="T50" fmla="*/ 565 w 702"/>
                <a:gd name="T51" fmla="*/ 80 h 847"/>
                <a:gd name="T52" fmla="*/ 593 w 702"/>
                <a:gd name="T53" fmla="*/ 104 h 847"/>
                <a:gd name="T54" fmla="*/ 607 w 702"/>
                <a:gd name="T55" fmla="*/ 118 h 847"/>
                <a:gd name="T56" fmla="*/ 631 w 702"/>
                <a:gd name="T57" fmla="*/ 146 h 847"/>
                <a:gd name="T58" fmla="*/ 650 w 702"/>
                <a:gd name="T59" fmla="*/ 178 h 847"/>
                <a:gd name="T60" fmla="*/ 667 w 702"/>
                <a:gd name="T61" fmla="*/ 213 h 847"/>
                <a:gd name="T62" fmla="*/ 681 w 702"/>
                <a:gd name="T63" fmla="*/ 251 h 847"/>
                <a:gd name="T64" fmla="*/ 691 w 702"/>
                <a:gd name="T65" fmla="*/ 292 h 847"/>
                <a:gd name="T66" fmla="*/ 698 w 702"/>
                <a:gd name="T67" fmla="*/ 335 h 847"/>
                <a:gd name="T68" fmla="*/ 701 w 702"/>
                <a:gd name="T69" fmla="*/ 381 h 847"/>
                <a:gd name="T70" fmla="*/ 470 w 702"/>
                <a:gd name="T71" fmla="*/ 414 h 847"/>
                <a:gd name="T72" fmla="*/ 470 w 702"/>
                <a:gd name="T73" fmla="*/ 386 h 847"/>
                <a:gd name="T74" fmla="*/ 464 w 702"/>
                <a:gd name="T75" fmla="*/ 335 h 847"/>
                <a:gd name="T76" fmla="*/ 453 w 702"/>
                <a:gd name="T77" fmla="*/ 292 h 847"/>
                <a:gd name="T78" fmla="*/ 436 w 702"/>
                <a:gd name="T79" fmla="*/ 257 h 847"/>
                <a:gd name="T80" fmla="*/ 425 w 702"/>
                <a:gd name="T81" fmla="*/ 241 h 847"/>
                <a:gd name="T82" fmla="*/ 399 w 702"/>
                <a:gd name="T83" fmla="*/ 216 h 847"/>
                <a:gd name="T84" fmla="*/ 369 w 702"/>
                <a:gd name="T85" fmla="*/ 199 h 847"/>
                <a:gd name="T86" fmla="*/ 331 w 702"/>
                <a:gd name="T87" fmla="*/ 188 h 847"/>
                <a:gd name="T88" fmla="*/ 289 w 702"/>
                <a:gd name="T89" fmla="*/ 185 h 847"/>
                <a:gd name="T90" fmla="*/ 223 w 702"/>
                <a:gd name="T91" fmla="*/ 659 h 847"/>
                <a:gd name="T92" fmla="*/ 273 w 702"/>
                <a:gd name="T93" fmla="*/ 659 h 847"/>
                <a:gd name="T94" fmla="*/ 321 w 702"/>
                <a:gd name="T95" fmla="*/ 656 h 847"/>
                <a:gd name="T96" fmla="*/ 362 w 702"/>
                <a:gd name="T97" fmla="*/ 645 h 847"/>
                <a:gd name="T98" fmla="*/ 395 w 702"/>
                <a:gd name="T99" fmla="*/ 625 h 847"/>
                <a:gd name="T100" fmla="*/ 422 w 702"/>
                <a:gd name="T101" fmla="*/ 599 h 847"/>
                <a:gd name="T102" fmla="*/ 433 w 702"/>
                <a:gd name="T103" fmla="*/ 583 h 847"/>
                <a:gd name="T104" fmla="*/ 451 w 702"/>
                <a:gd name="T105" fmla="*/ 544 h 847"/>
                <a:gd name="T106" fmla="*/ 463 w 702"/>
                <a:gd name="T107" fmla="*/ 498 h 847"/>
                <a:gd name="T108" fmla="*/ 470 w 702"/>
                <a:gd name="T109" fmla="*/ 44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847">
                  <a:moveTo>
                    <a:pt x="702" y="405"/>
                  </a:moveTo>
                  <a:lnTo>
                    <a:pt x="702" y="405"/>
                  </a:lnTo>
                  <a:lnTo>
                    <a:pt x="701" y="432"/>
                  </a:lnTo>
                  <a:lnTo>
                    <a:pt x="699" y="457"/>
                  </a:lnTo>
                  <a:lnTo>
                    <a:pt x="698" y="482"/>
                  </a:lnTo>
                  <a:lnTo>
                    <a:pt x="695" y="506"/>
                  </a:lnTo>
                  <a:lnTo>
                    <a:pt x="691" y="529"/>
                  </a:lnTo>
                  <a:lnTo>
                    <a:pt x="685" y="551"/>
                  </a:lnTo>
                  <a:lnTo>
                    <a:pt x="680" y="572"/>
                  </a:lnTo>
                  <a:lnTo>
                    <a:pt x="673" y="593"/>
                  </a:lnTo>
                  <a:lnTo>
                    <a:pt x="666" y="614"/>
                  </a:lnTo>
                  <a:lnTo>
                    <a:pt x="657" y="632"/>
                  </a:lnTo>
                  <a:lnTo>
                    <a:pt x="648" y="652"/>
                  </a:lnTo>
                  <a:lnTo>
                    <a:pt x="638" y="669"/>
                  </a:lnTo>
                  <a:lnTo>
                    <a:pt x="627" y="686"/>
                  </a:lnTo>
                  <a:lnTo>
                    <a:pt x="614" y="702"/>
                  </a:lnTo>
                  <a:lnTo>
                    <a:pt x="601" y="718"/>
                  </a:lnTo>
                  <a:lnTo>
                    <a:pt x="587" y="733"/>
                  </a:lnTo>
                  <a:lnTo>
                    <a:pt x="587" y="733"/>
                  </a:lnTo>
                  <a:lnTo>
                    <a:pt x="573" y="746"/>
                  </a:lnTo>
                  <a:lnTo>
                    <a:pt x="558" y="760"/>
                  </a:lnTo>
                  <a:lnTo>
                    <a:pt x="542" y="771"/>
                  </a:lnTo>
                  <a:lnTo>
                    <a:pt x="526" y="782"/>
                  </a:lnTo>
                  <a:lnTo>
                    <a:pt x="507" y="794"/>
                  </a:lnTo>
                  <a:lnTo>
                    <a:pt x="489" y="802"/>
                  </a:lnTo>
                  <a:lnTo>
                    <a:pt x="471" y="812"/>
                  </a:lnTo>
                  <a:lnTo>
                    <a:pt x="450" y="819"/>
                  </a:lnTo>
                  <a:lnTo>
                    <a:pt x="430" y="826"/>
                  </a:lnTo>
                  <a:lnTo>
                    <a:pt x="409" y="831"/>
                  </a:lnTo>
                  <a:lnTo>
                    <a:pt x="387" y="836"/>
                  </a:lnTo>
                  <a:lnTo>
                    <a:pt x="364" y="840"/>
                  </a:lnTo>
                  <a:lnTo>
                    <a:pt x="342" y="844"/>
                  </a:lnTo>
                  <a:lnTo>
                    <a:pt x="317" y="845"/>
                  </a:lnTo>
                  <a:lnTo>
                    <a:pt x="293" y="847"/>
                  </a:lnTo>
                  <a:lnTo>
                    <a:pt x="268" y="847"/>
                  </a:lnTo>
                  <a:lnTo>
                    <a:pt x="0" y="847"/>
                  </a:lnTo>
                  <a:lnTo>
                    <a:pt x="0" y="0"/>
                  </a:lnTo>
                  <a:lnTo>
                    <a:pt x="286" y="0"/>
                  </a:lnTo>
                  <a:lnTo>
                    <a:pt x="286" y="0"/>
                  </a:lnTo>
                  <a:lnTo>
                    <a:pt x="334" y="2"/>
                  </a:lnTo>
                  <a:lnTo>
                    <a:pt x="357" y="3"/>
                  </a:lnTo>
                  <a:lnTo>
                    <a:pt x="380" y="6"/>
                  </a:lnTo>
                  <a:lnTo>
                    <a:pt x="401" y="10"/>
                  </a:lnTo>
                  <a:lnTo>
                    <a:pt x="422" y="14"/>
                  </a:lnTo>
                  <a:lnTo>
                    <a:pt x="443" y="20"/>
                  </a:lnTo>
                  <a:lnTo>
                    <a:pt x="463" y="25"/>
                  </a:lnTo>
                  <a:lnTo>
                    <a:pt x="481" y="32"/>
                  </a:lnTo>
                  <a:lnTo>
                    <a:pt x="499" y="41"/>
                  </a:lnTo>
                  <a:lnTo>
                    <a:pt x="517" y="49"/>
                  </a:lnTo>
                  <a:lnTo>
                    <a:pt x="534" y="59"/>
                  </a:lnTo>
                  <a:lnTo>
                    <a:pt x="549" y="69"/>
                  </a:lnTo>
                  <a:lnTo>
                    <a:pt x="565" y="80"/>
                  </a:lnTo>
                  <a:lnTo>
                    <a:pt x="580" y="91"/>
                  </a:lnTo>
                  <a:lnTo>
                    <a:pt x="593" y="104"/>
                  </a:lnTo>
                  <a:lnTo>
                    <a:pt x="593" y="104"/>
                  </a:lnTo>
                  <a:lnTo>
                    <a:pt x="607" y="118"/>
                  </a:lnTo>
                  <a:lnTo>
                    <a:pt x="620" y="132"/>
                  </a:lnTo>
                  <a:lnTo>
                    <a:pt x="631" y="146"/>
                  </a:lnTo>
                  <a:lnTo>
                    <a:pt x="641" y="163"/>
                  </a:lnTo>
                  <a:lnTo>
                    <a:pt x="650" y="178"/>
                  </a:lnTo>
                  <a:lnTo>
                    <a:pt x="660" y="195"/>
                  </a:lnTo>
                  <a:lnTo>
                    <a:pt x="667" y="213"/>
                  </a:lnTo>
                  <a:lnTo>
                    <a:pt x="674" y="231"/>
                  </a:lnTo>
                  <a:lnTo>
                    <a:pt x="681" y="251"/>
                  </a:lnTo>
                  <a:lnTo>
                    <a:pt x="687" y="271"/>
                  </a:lnTo>
                  <a:lnTo>
                    <a:pt x="691" y="292"/>
                  </a:lnTo>
                  <a:lnTo>
                    <a:pt x="695" y="313"/>
                  </a:lnTo>
                  <a:lnTo>
                    <a:pt x="698" y="335"/>
                  </a:lnTo>
                  <a:lnTo>
                    <a:pt x="701" y="358"/>
                  </a:lnTo>
                  <a:lnTo>
                    <a:pt x="701" y="381"/>
                  </a:lnTo>
                  <a:lnTo>
                    <a:pt x="702" y="405"/>
                  </a:lnTo>
                  <a:close/>
                  <a:moveTo>
                    <a:pt x="470" y="414"/>
                  </a:moveTo>
                  <a:lnTo>
                    <a:pt x="470" y="414"/>
                  </a:lnTo>
                  <a:lnTo>
                    <a:pt x="470" y="386"/>
                  </a:lnTo>
                  <a:lnTo>
                    <a:pt x="467" y="359"/>
                  </a:lnTo>
                  <a:lnTo>
                    <a:pt x="464" y="335"/>
                  </a:lnTo>
                  <a:lnTo>
                    <a:pt x="458" y="313"/>
                  </a:lnTo>
                  <a:lnTo>
                    <a:pt x="453" y="292"/>
                  </a:lnTo>
                  <a:lnTo>
                    <a:pt x="444" y="274"/>
                  </a:lnTo>
                  <a:lnTo>
                    <a:pt x="436" y="257"/>
                  </a:lnTo>
                  <a:lnTo>
                    <a:pt x="425" y="241"/>
                  </a:lnTo>
                  <a:lnTo>
                    <a:pt x="425" y="241"/>
                  </a:lnTo>
                  <a:lnTo>
                    <a:pt x="413" y="227"/>
                  </a:lnTo>
                  <a:lnTo>
                    <a:pt x="399" y="216"/>
                  </a:lnTo>
                  <a:lnTo>
                    <a:pt x="384" y="206"/>
                  </a:lnTo>
                  <a:lnTo>
                    <a:pt x="369" y="199"/>
                  </a:lnTo>
                  <a:lnTo>
                    <a:pt x="350" y="192"/>
                  </a:lnTo>
                  <a:lnTo>
                    <a:pt x="331" y="188"/>
                  </a:lnTo>
                  <a:lnTo>
                    <a:pt x="310" y="185"/>
                  </a:lnTo>
                  <a:lnTo>
                    <a:pt x="289" y="185"/>
                  </a:lnTo>
                  <a:lnTo>
                    <a:pt x="223" y="185"/>
                  </a:lnTo>
                  <a:lnTo>
                    <a:pt x="223" y="659"/>
                  </a:lnTo>
                  <a:lnTo>
                    <a:pt x="273" y="659"/>
                  </a:lnTo>
                  <a:lnTo>
                    <a:pt x="273" y="659"/>
                  </a:lnTo>
                  <a:lnTo>
                    <a:pt x="297" y="659"/>
                  </a:lnTo>
                  <a:lnTo>
                    <a:pt x="321" y="656"/>
                  </a:lnTo>
                  <a:lnTo>
                    <a:pt x="342" y="651"/>
                  </a:lnTo>
                  <a:lnTo>
                    <a:pt x="362" y="645"/>
                  </a:lnTo>
                  <a:lnTo>
                    <a:pt x="378" y="637"/>
                  </a:lnTo>
                  <a:lnTo>
                    <a:pt x="395" y="625"/>
                  </a:lnTo>
                  <a:lnTo>
                    <a:pt x="409" y="613"/>
                  </a:lnTo>
                  <a:lnTo>
                    <a:pt x="422" y="599"/>
                  </a:lnTo>
                  <a:lnTo>
                    <a:pt x="422" y="599"/>
                  </a:lnTo>
                  <a:lnTo>
                    <a:pt x="433" y="583"/>
                  </a:lnTo>
                  <a:lnTo>
                    <a:pt x="443" y="565"/>
                  </a:lnTo>
                  <a:lnTo>
                    <a:pt x="451" y="544"/>
                  </a:lnTo>
                  <a:lnTo>
                    <a:pt x="458" y="523"/>
                  </a:lnTo>
                  <a:lnTo>
                    <a:pt x="463" y="498"/>
                  </a:lnTo>
                  <a:lnTo>
                    <a:pt x="467" y="473"/>
                  </a:lnTo>
                  <a:lnTo>
                    <a:pt x="470" y="445"/>
                  </a:lnTo>
                  <a:lnTo>
                    <a:pt x="470" y="4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8">
              <a:extLst>
                <a:ext uri="{FF2B5EF4-FFF2-40B4-BE49-F238E27FC236}">
                  <a16:creationId xmlns:a16="http://schemas.microsoft.com/office/drawing/2014/main" id="{08E6203C-0519-4A82-926E-D238214A2780}"/>
                </a:ext>
              </a:extLst>
            </p:cNvPr>
            <p:cNvSpPr>
              <a:spLocks/>
            </p:cNvSpPr>
            <p:nvPr/>
          </p:nvSpPr>
          <p:spPr bwMode="auto">
            <a:xfrm>
              <a:off x="2684" y="1629"/>
              <a:ext cx="351" cy="423"/>
            </a:xfrm>
            <a:custGeom>
              <a:avLst/>
              <a:gdLst>
                <a:gd name="T0" fmla="*/ 702 w 702"/>
                <a:gd name="T1" fmla="*/ 405 h 847"/>
                <a:gd name="T2" fmla="*/ 699 w 702"/>
                <a:gd name="T3" fmla="*/ 457 h 847"/>
                <a:gd name="T4" fmla="*/ 695 w 702"/>
                <a:gd name="T5" fmla="*/ 506 h 847"/>
                <a:gd name="T6" fmla="*/ 685 w 702"/>
                <a:gd name="T7" fmla="*/ 551 h 847"/>
                <a:gd name="T8" fmla="*/ 673 w 702"/>
                <a:gd name="T9" fmla="*/ 593 h 847"/>
                <a:gd name="T10" fmla="*/ 657 w 702"/>
                <a:gd name="T11" fmla="*/ 632 h 847"/>
                <a:gd name="T12" fmla="*/ 638 w 702"/>
                <a:gd name="T13" fmla="*/ 669 h 847"/>
                <a:gd name="T14" fmla="*/ 614 w 702"/>
                <a:gd name="T15" fmla="*/ 702 h 847"/>
                <a:gd name="T16" fmla="*/ 587 w 702"/>
                <a:gd name="T17" fmla="*/ 733 h 847"/>
                <a:gd name="T18" fmla="*/ 573 w 702"/>
                <a:gd name="T19" fmla="*/ 746 h 847"/>
                <a:gd name="T20" fmla="*/ 542 w 702"/>
                <a:gd name="T21" fmla="*/ 771 h 847"/>
                <a:gd name="T22" fmla="*/ 507 w 702"/>
                <a:gd name="T23" fmla="*/ 794 h 847"/>
                <a:gd name="T24" fmla="*/ 471 w 702"/>
                <a:gd name="T25" fmla="*/ 812 h 847"/>
                <a:gd name="T26" fmla="*/ 430 w 702"/>
                <a:gd name="T27" fmla="*/ 826 h 847"/>
                <a:gd name="T28" fmla="*/ 387 w 702"/>
                <a:gd name="T29" fmla="*/ 836 h 847"/>
                <a:gd name="T30" fmla="*/ 342 w 702"/>
                <a:gd name="T31" fmla="*/ 844 h 847"/>
                <a:gd name="T32" fmla="*/ 293 w 702"/>
                <a:gd name="T33" fmla="*/ 847 h 847"/>
                <a:gd name="T34" fmla="*/ 0 w 702"/>
                <a:gd name="T35" fmla="*/ 847 h 847"/>
                <a:gd name="T36" fmla="*/ 286 w 702"/>
                <a:gd name="T37" fmla="*/ 0 h 847"/>
                <a:gd name="T38" fmla="*/ 334 w 702"/>
                <a:gd name="T39" fmla="*/ 2 h 847"/>
                <a:gd name="T40" fmla="*/ 380 w 702"/>
                <a:gd name="T41" fmla="*/ 6 h 847"/>
                <a:gd name="T42" fmla="*/ 422 w 702"/>
                <a:gd name="T43" fmla="*/ 14 h 847"/>
                <a:gd name="T44" fmla="*/ 463 w 702"/>
                <a:gd name="T45" fmla="*/ 25 h 847"/>
                <a:gd name="T46" fmla="*/ 499 w 702"/>
                <a:gd name="T47" fmla="*/ 41 h 847"/>
                <a:gd name="T48" fmla="*/ 534 w 702"/>
                <a:gd name="T49" fmla="*/ 59 h 847"/>
                <a:gd name="T50" fmla="*/ 565 w 702"/>
                <a:gd name="T51" fmla="*/ 80 h 847"/>
                <a:gd name="T52" fmla="*/ 593 w 702"/>
                <a:gd name="T53" fmla="*/ 104 h 847"/>
                <a:gd name="T54" fmla="*/ 607 w 702"/>
                <a:gd name="T55" fmla="*/ 118 h 847"/>
                <a:gd name="T56" fmla="*/ 631 w 702"/>
                <a:gd name="T57" fmla="*/ 146 h 847"/>
                <a:gd name="T58" fmla="*/ 650 w 702"/>
                <a:gd name="T59" fmla="*/ 178 h 847"/>
                <a:gd name="T60" fmla="*/ 667 w 702"/>
                <a:gd name="T61" fmla="*/ 213 h 847"/>
                <a:gd name="T62" fmla="*/ 681 w 702"/>
                <a:gd name="T63" fmla="*/ 251 h 847"/>
                <a:gd name="T64" fmla="*/ 691 w 702"/>
                <a:gd name="T65" fmla="*/ 292 h 847"/>
                <a:gd name="T66" fmla="*/ 698 w 702"/>
                <a:gd name="T67" fmla="*/ 335 h 847"/>
                <a:gd name="T68" fmla="*/ 701 w 702"/>
                <a:gd name="T69" fmla="*/ 381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2" h="847">
                  <a:moveTo>
                    <a:pt x="702" y="405"/>
                  </a:moveTo>
                  <a:lnTo>
                    <a:pt x="702" y="405"/>
                  </a:lnTo>
                  <a:lnTo>
                    <a:pt x="701" y="432"/>
                  </a:lnTo>
                  <a:lnTo>
                    <a:pt x="699" y="457"/>
                  </a:lnTo>
                  <a:lnTo>
                    <a:pt x="698" y="482"/>
                  </a:lnTo>
                  <a:lnTo>
                    <a:pt x="695" y="506"/>
                  </a:lnTo>
                  <a:lnTo>
                    <a:pt x="691" y="529"/>
                  </a:lnTo>
                  <a:lnTo>
                    <a:pt x="685" y="551"/>
                  </a:lnTo>
                  <a:lnTo>
                    <a:pt x="680" y="572"/>
                  </a:lnTo>
                  <a:lnTo>
                    <a:pt x="673" y="593"/>
                  </a:lnTo>
                  <a:lnTo>
                    <a:pt x="666" y="614"/>
                  </a:lnTo>
                  <a:lnTo>
                    <a:pt x="657" y="632"/>
                  </a:lnTo>
                  <a:lnTo>
                    <a:pt x="648" y="652"/>
                  </a:lnTo>
                  <a:lnTo>
                    <a:pt x="638" y="669"/>
                  </a:lnTo>
                  <a:lnTo>
                    <a:pt x="627" y="686"/>
                  </a:lnTo>
                  <a:lnTo>
                    <a:pt x="614" y="702"/>
                  </a:lnTo>
                  <a:lnTo>
                    <a:pt x="601" y="718"/>
                  </a:lnTo>
                  <a:lnTo>
                    <a:pt x="587" y="733"/>
                  </a:lnTo>
                  <a:lnTo>
                    <a:pt x="587" y="733"/>
                  </a:lnTo>
                  <a:lnTo>
                    <a:pt x="573" y="746"/>
                  </a:lnTo>
                  <a:lnTo>
                    <a:pt x="558" y="760"/>
                  </a:lnTo>
                  <a:lnTo>
                    <a:pt x="542" y="771"/>
                  </a:lnTo>
                  <a:lnTo>
                    <a:pt x="526" y="782"/>
                  </a:lnTo>
                  <a:lnTo>
                    <a:pt x="507" y="794"/>
                  </a:lnTo>
                  <a:lnTo>
                    <a:pt x="489" y="802"/>
                  </a:lnTo>
                  <a:lnTo>
                    <a:pt x="471" y="812"/>
                  </a:lnTo>
                  <a:lnTo>
                    <a:pt x="450" y="819"/>
                  </a:lnTo>
                  <a:lnTo>
                    <a:pt x="430" y="826"/>
                  </a:lnTo>
                  <a:lnTo>
                    <a:pt x="409" y="831"/>
                  </a:lnTo>
                  <a:lnTo>
                    <a:pt x="387" y="836"/>
                  </a:lnTo>
                  <a:lnTo>
                    <a:pt x="364" y="840"/>
                  </a:lnTo>
                  <a:lnTo>
                    <a:pt x="342" y="844"/>
                  </a:lnTo>
                  <a:lnTo>
                    <a:pt x="317" y="845"/>
                  </a:lnTo>
                  <a:lnTo>
                    <a:pt x="293" y="847"/>
                  </a:lnTo>
                  <a:lnTo>
                    <a:pt x="268" y="847"/>
                  </a:lnTo>
                  <a:lnTo>
                    <a:pt x="0" y="847"/>
                  </a:lnTo>
                  <a:lnTo>
                    <a:pt x="0" y="0"/>
                  </a:lnTo>
                  <a:lnTo>
                    <a:pt x="286" y="0"/>
                  </a:lnTo>
                  <a:lnTo>
                    <a:pt x="286" y="0"/>
                  </a:lnTo>
                  <a:lnTo>
                    <a:pt x="334" y="2"/>
                  </a:lnTo>
                  <a:lnTo>
                    <a:pt x="357" y="3"/>
                  </a:lnTo>
                  <a:lnTo>
                    <a:pt x="380" y="6"/>
                  </a:lnTo>
                  <a:lnTo>
                    <a:pt x="401" y="10"/>
                  </a:lnTo>
                  <a:lnTo>
                    <a:pt x="422" y="14"/>
                  </a:lnTo>
                  <a:lnTo>
                    <a:pt x="443" y="20"/>
                  </a:lnTo>
                  <a:lnTo>
                    <a:pt x="463" y="25"/>
                  </a:lnTo>
                  <a:lnTo>
                    <a:pt x="481" y="32"/>
                  </a:lnTo>
                  <a:lnTo>
                    <a:pt x="499" y="41"/>
                  </a:lnTo>
                  <a:lnTo>
                    <a:pt x="517" y="49"/>
                  </a:lnTo>
                  <a:lnTo>
                    <a:pt x="534" y="59"/>
                  </a:lnTo>
                  <a:lnTo>
                    <a:pt x="549" y="69"/>
                  </a:lnTo>
                  <a:lnTo>
                    <a:pt x="565" y="80"/>
                  </a:lnTo>
                  <a:lnTo>
                    <a:pt x="580" y="91"/>
                  </a:lnTo>
                  <a:lnTo>
                    <a:pt x="593" y="104"/>
                  </a:lnTo>
                  <a:lnTo>
                    <a:pt x="593" y="104"/>
                  </a:lnTo>
                  <a:lnTo>
                    <a:pt x="607" y="118"/>
                  </a:lnTo>
                  <a:lnTo>
                    <a:pt x="620" y="132"/>
                  </a:lnTo>
                  <a:lnTo>
                    <a:pt x="631" y="146"/>
                  </a:lnTo>
                  <a:lnTo>
                    <a:pt x="641" y="163"/>
                  </a:lnTo>
                  <a:lnTo>
                    <a:pt x="650" y="178"/>
                  </a:lnTo>
                  <a:lnTo>
                    <a:pt x="660" y="195"/>
                  </a:lnTo>
                  <a:lnTo>
                    <a:pt x="667" y="213"/>
                  </a:lnTo>
                  <a:lnTo>
                    <a:pt x="674" y="231"/>
                  </a:lnTo>
                  <a:lnTo>
                    <a:pt x="681" y="251"/>
                  </a:lnTo>
                  <a:lnTo>
                    <a:pt x="687" y="271"/>
                  </a:lnTo>
                  <a:lnTo>
                    <a:pt x="691" y="292"/>
                  </a:lnTo>
                  <a:lnTo>
                    <a:pt x="695" y="313"/>
                  </a:lnTo>
                  <a:lnTo>
                    <a:pt x="698" y="335"/>
                  </a:lnTo>
                  <a:lnTo>
                    <a:pt x="701" y="358"/>
                  </a:lnTo>
                  <a:lnTo>
                    <a:pt x="701" y="381"/>
                  </a:lnTo>
                  <a:lnTo>
                    <a:pt x="702" y="40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9">
              <a:extLst>
                <a:ext uri="{FF2B5EF4-FFF2-40B4-BE49-F238E27FC236}">
                  <a16:creationId xmlns:a16="http://schemas.microsoft.com/office/drawing/2014/main" id="{F453FFC6-4444-4EFD-A48D-CDE5992CF6A5}"/>
                </a:ext>
              </a:extLst>
            </p:cNvPr>
            <p:cNvSpPr>
              <a:spLocks/>
            </p:cNvSpPr>
            <p:nvPr/>
          </p:nvSpPr>
          <p:spPr bwMode="auto">
            <a:xfrm>
              <a:off x="2795" y="1722"/>
              <a:ext cx="124" cy="237"/>
            </a:xfrm>
            <a:custGeom>
              <a:avLst/>
              <a:gdLst>
                <a:gd name="T0" fmla="*/ 247 w 247"/>
                <a:gd name="T1" fmla="*/ 229 h 474"/>
                <a:gd name="T2" fmla="*/ 247 w 247"/>
                <a:gd name="T3" fmla="*/ 229 h 474"/>
                <a:gd name="T4" fmla="*/ 247 w 247"/>
                <a:gd name="T5" fmla="*/ 201 h 474"/>
                <a:gd name="T6" fmla="*/ 244 w 247"/>
                <a:gd name="T7" fmla="*/ 174 h 474"/>
                <a:gd name="T8" fmla="*/ 241 w 247"/>
                <a:gd name="T9" fmla="*/ 150 h 474"/>
                <a:gd name="T10" fmla="*/ 235 w 247"/>
                <a:gd name="T11" fmla="*/ 128 h 474"/>
                <a:gd name="T12" fmla="*/ 230 w 247"/>
                <a:gd name="T13" fmla="*/ 107 h 474"/>
                <a:gd name="T14" fmla="*/ 221 w 247"/>
                <a:gd name="T15" fmla="*/ 89 h 474"/>
                <a:gd name="T16" fmla="*/ 213 w 247"/>
                <a:gd name="T17" fmla="*/ 72 h 474"/>
                <a:gd name="T18" fmla="*/ 202 w 247"/>
                <a:gd name="T19" fmla="*/ 56 h 474"/>
                <a:gd name="T20" fmla="*/ 202 w 247"/>
                <a:gd name="T21" fmla="*/ 56 h 474"/>
                <a:gd name="T22" fmla="*/ 190 w 247"/>
                <a:gd name="T23" fmla="*/ 42 h 474"/>
                <a:gd name="T24" fmla="*/ 176 w 247"/>
                <a:gd name="T25" fmla="*/ 31 h 474"/>
                <a:gd name="T26" fmla="*/ 161 w 247"/>
                <a:gd name="T27" fmla="*/ 21 h 474"/>
                <a:gd name="T28" fmla="*/ 146 w 247"/>
                <a:gd name="T29" fmla="*/ 14 h 474"/>
                <a:gd name="T30" fmla="*/ 127 w 247"/>
                <a:gd name="T31" fmla="*/ 7 h 474"/>
                <a:gd name="T32" fmla="*/ 108 w 247"/>
                <a:gd name="T33" fmla="*/ 3 h 474"/>
                <a:gd name="T34" fmla="*/ 87 w 247"/>
                <a:gd name="T35" fmla="*/ 0 h 474"/>
                <a:gd name="T36" fmla="*/ 66 w 247"/>
                <a:gd name="T37" fmla="*/ 0 h 474"/>
                <a:gd name="T38" fmla="*/ 0 w 247"/>
                <a:gd name="T39" fmla="*/ 0 h 474"/>
                <a:gd name="T40" fmla="*/ 0 w 247"/>
                <a:gd name="T41" fmla="*/ 474 h 474"/>
                <a:gd name="T42" fmla="*/ 50 w 247"/>
                <a:gd name="T43" fmla="*/ 474 h 474"/>
                <a:gd name="T44" fmla="*/ 50 w 247"/>
                <a:gd name="T45" fmla="*/ 474 h 474"/>
                <a:gd name="T46" fmla="*/ 74 w 247"/>
                <a:gd name="T47" fmla="*/ 474 h 474"/>
                <a:gd name="T48" fmla="*/ 98 w 247"/>
                <a:gd name="T49" fmla="*/ 471 h 474"/>
                <a:gd name="T50" fmla="*/ 119 w 247"/>
                <a:gd name="T51" fmla="*/ 466 h 474"/>
                <a:gd name="T52" fmla="*/ 139 w 247"/>
                <a:gd name="T53" fmla="*/ 460 h 474"/>
                <a:gd name="T54" fmla="*/ 155 w 247"/>
                <a:gd name="T55" fmla="*/ 452 h 474"/>
                <a:gd name="T56" fmla="*/ 172 w 247"/>
                <a:gd name="T57" fmla="*/ 440 h 474"/>
                <a:gd name="T58" fmla="*/ 186 w 247"/>
                <a:gd name="T59" fmla="*/ 428 h 474"/>
                <a:gd name="T60" fmla="*/ 199 w 247"/>
                <a:gd name="T61" fmla="*/ 414 h 474"/>
                <a:gd name="T62" fmla="*/ 199 w 247"/>
                <a:gd name="T63" fmla="*/ 414 h 474"/>
                <a:gd name="T64" fmla="*/ 210 w 247"/>
                <a:gd name="T65" fmla="*/ 398 h 474"/>
                <a:gd name="T66" fmla="*/ 220 w 247"/>
                <a:gd name="T67" fmla="*/ 380 h 474"/>
                <a:gd name="T68" fmla="*/ 228 w 247"/>
                <a:gd name="T69" fmla="*/ 359 h 474"/>
                <a:gd name="T70" fmla="*/ 235 w 247"/>
                <a:gd name="T71" fmla="*/ 338 h 474"/>
                <a:gd name="T72" fmla="*/ 240 w 247"/>
                <a:gd name="T73" fmla="*/ 313 h 474"/>
                <a:gd name="T74" fmla="*/ 244 w 247"/>
                <a:gd name="T75" fmla="*/ 288 h 474"/>
                <a:gd name="T76" fmla="*/ 247 w 247"/>
                <a:gd name="T77" fmla="*/ 260 h 474"/>
                <a:gd name="T78" fmla="*/ 247 w 247"/>
                <a:gd name="T79" fmla="*/ 229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7" h="474">
                  <a:moveTo>
                    <a:pt x="247" y="229"/>
                  </a:moveTo>
                  <a:lnTo>
                    <a:pt x="247" y="229"/>
                  </a:lnTo>
                  <a:lnTo>
                    <a:pt x="247" y="201"/>
                  </a:lnTo>
                  <a:lnTo>
                    <a:pt x="244" y="174"/>
                  </a:lnTo>
                  <a:lnTo>
                    <a:pt x="241" y="150"/>
                  </a:lnTo>
                  <a:lnTo>
                    <a:pt x="235" y="128"/>
                  </a:lnTo>
                  <a:lnTo>
                    <a:pt x="230" y="107"/>
                  </a:lnTo>
                  <a:lnTo>
                    <a:pt x="221" y="89"/>
                  </a:lnTo>
                  <a:lnTo>
                    <a:pt x="213" y="72"/>
                  </a:lnTo>
                  <a:lnTo>
                    <a:pt x="202" y="56"/>
                  </a:lnTo>
                  <a:lnTo>
                    <a:pt x="202" y="56"/>
                  </a:lnTo>
                  <a:lnTo>
                    <a:pt x="190" y="42"/>
                  </a:lnTo>
                  <a:lnTo>
                    <a:pt x="176" y="31"/>
                  </a:lnTo>
                  <a:lnTo>
                    <a:pt x="161" y="21"/>
                  </a:lnTo>
                  <a:lnTo>
                    <a:pt x="146" y="14"/>
                  </a:lnTo>
                  <a:lnTo>
                    <a:pt x="127" y="7"/>
                  </a:lnTo>
                  <a:lnTo>
                    <a:pt x="108" y="3"/>
                  </a:lnTo>
                  <a:lnTo>
                    <a:pt x="87" y="0"/>
                  </a:lnTo>
                  <a:lnTo>
                    <a:pt x="66" y="0"/>
                  </a:lnTo>
                  <a:lnTo>
                    <a:pt x="0" y="0"/>
                  </a:lnTo>
                  <a:lnTo>
                    <a:pt x="0" y="474"/>
                  </a:lnTo>
                  <a:lnTo>
                    <a:pt x="50" y="474"/>
                  </a:lnTo>
                  <a:lnTo>
                    <a:pt x="50" y="474"/>
                  </a:lnTo>
                  <a:lnTo>
                    <a:pt x="74" y="474"/>
                  </a:lnTo>
                  <a:lnTo>
                    <a:pt x="98" y="471"/>
                  </a:lnTo>
                  <a:lnTo>
                    <a:pt x="119" y="466"/>
                  </a:lnTo>
                  <a:lnTo>
                    <a:pt x="139" y="460"/>
                  </a:lnTo>
                  <a:lnTo>
                    <a:pt x="155" y="452"/>
                  </a:lnTo>
                  <a:lnTo>
                    <a:pt x="172" y="440"/>
                  </a:lnTo>
                  <a:lnTo>
                    <a:pt x="186" y="428"/>
                  </a:lnTo>
                  <a:lnTo>
                    <a:pt x="199" y="414"/>
                  </a:lnTo>
                  <a:lnTo>
                    <a:pt x="199" y="414"/>
                  </a:lnTo>
                  <a:lnTo>
                    <a:pt x="210" y="398"/>
                  </a:lnTo>
                  <a:lnTo>
                    <a:pt x="220" y="380"/>
                  </a:lnTo>
                  <a:lnTo>
                    <a:pt x="228" y="359"/>
                  </a:lnTo>
                  <a:lnTo>
                    <a:pt x="235" y="338"/>
                  </a:lnTo>
                  <a:lnTo>
                    <a:pt x="240" y="313"/>
                  </a:lnTo>
                  <a:lnTo>
                    <a:pt x="244" y="288"/>
                  </a:lnTo>
                  <a:lnTo>
                    <a:pt x="247" y="260"/>
                  </a:lnTo>
                  <a:lnTo>
                    <a:pt x="247" y="2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3">
              <a:extLst>
                <a:ext uri="{FF2B5EF4-FFF2-40B4-BE49-F238E27FC236}">
                  <a16:creationId xmlns:a16="http://schemas.microsoft.com/office/drawing/2014/main" id="{07BB28E9-547F-42FD-94BB-0B432882DF59}"/>
                </a:ext>
              </a:extLst>
            </p:cNvPr>
            <p:cNvSpPr>
              <a:spLocks noChangeArrowheads="1"/>
            </p:cNvSpPr>
            <p:nvPr/>
          </p:nvSpPr>
          <p:spPr bwMode="auto">
            <a:xfrm>
              <a:off x="3406" y="1627"/>
              <a:ext cx="106" cy="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1">
              <a:extLst>
                <a:ext uri="{FF2B5EF4-FFF2-40B4-BE49-F238E27FC236}">
                  <a16:creationId xmlns:a16="http://schemas.microsoft.com/office/drawing/2014/main" id="{B780642D-FB3F-443E-B6BB-87FCFE0316D8}"/>
                </a:ext>
              </a:extLst>
            </p:cNvPr>
            <p:cNvSpPr>
              <a:spLocks noEditPoints="1"/>
            </p:cNvSpPr>
            <p:nvPr/>
          </p:nvSpPr>
          <p:spPr bwMode="auto">
            <a:xfrm>
              <a:off x="3554" y="1731"/>
              <a:ext cx="308" cy="327"/>
            </a:xfrm>
            <a:custGeom>
              <a:avLst/>
              <a:gdLst>
                <a:gd name="T0" fmla="*/ 616 w 617"/>
                <a:gd name="T1" fmla="*/ 365 h 655"/>
                <a:gd name="T2" fmla="*/ 596 w 617"/>
                <a:gd name="T3" fmla="*/ 464 h 655"/>
                <a:gd name="T4" fmla="*/ 554 w 617"/>
                <a:gd name="T5" fmla="*/ 546 h 655"/>
                <a:gd name="T6" fmla="*/ 525 w 617"/>
                <a:gd name="T7" fmla="*/ 579 h 655"/>
                <a:gd name="T8" fmla="*/ 491 w 617"/>
                <a:gd name="T9" fmla="*/ 607 h 655"/>
                <a:gd name="T10" fmla="*/ 438 w 617"/>
                <a:gd name="T11" fmla="*/ 634 h 655"/>
                <a:gd name="T12" fmla="*/ 342 w 617"/>
                <a:gd name="T13" fmla="*/ 654 h 655"/>
                <a:gd name="T14" fmla="*/ 272 w 617"/>
                <a:gd name="T15" fmla="*/ 654 h 655"/>
                <a:gd name="T16" fmla="*/ 181 w 617"/>
                <a:gd name="T17" fmla="*/ 634 h 655"/>
                <a:gd name="T18" fmla="*/ 106 w 617"/>
                <a:gd name="T19" fmla="*/ 588 h 655"/>
                <a:gd name="T20" fmla="*/ 64 w 617"/>
                <a:gd name="T21" fmla="*/ 544 h 655"/>
                <a:gd name="T22" fmla="*/ 21 w 617"/>
                <a:gd name="T23" fmla="*/ 463 h 655"/>
                <a:gd name="T24" fmla="*/ 2 w 617"/>
                <a:gd name="T25" fmla="*/ 363 h 655"/>
                <a:gd name="T26" fmla="*/ 2 w 617"/>
                <a:gd name="T27" fmla="*/ 289 h 655"/>
                <a:gd name="T28" fmla="*/ 21 w 617"/>
                <a:gd name="T29" fmla="*/ 190 h 655"/>
                <a:gd name="T30" fmla="*/ 64 w 617"/>
                <a:gd name="T31" fmla="*/ 110 h 655"/>
                <a:gd name="T32" fmla="*/ 103 w 617"/>
                <a:gd name="T33" fmla="*/ 66 h 655"/>
                <a:gd name="T34" fmla="*/ 152 w 617"/>
                <a:gd name="T35" fmla="*/ 34 h 655"/>
                <a:gd name="T36" fmla="*/ 242 w 617"/>
                <a:gd name="T37" fmla="*/ 6 h 655"/>
                <a:gd name="T38" fmla="*/ 310 w 617"/>
                <a:gd name="T39" fmla="*/ 0 h 655"/>
                <a:gd name="T40" fmla="*/ 376 w 617"/>
                <a:gd name="T41" fmla="*/ 6 h 655"/>
                <a:gd name="T42" fmla="*/ 435 w 617"/>
                <a:gd name="T43" fmla="*/ 23 h 655"/>
                <a:gd name="T44" fmla="*/ 471 w 617"/>
                <a:gd name="T45" fmla="*/ 41 h 655"/>
                <a:gd name="T46" fmla="*/ 519 w 617"/>
                <a:gd name="T47" fmla="*/ 75 h 655"/>
                <a:gd name="T48" fmla="*/ 558 w 617"/>
                <a:gd name="T49" fmla="*/ 120 h 655"/>
                <a:gd name="T50" fmla="*/ 579 w 617"/>
                <a:gd name="T51" fmla="*/ 155 h 655"/>
                <a:gd name="T52" fmla="*/ 602 w 617"/>
                <a:gd name="T53" fmla="*/ 214 h 655"/>
                <a:gd name="T54" fmla="*/ 614 w 617"/>
                <a:gd name="T55" fmla="*/ 279 h 655"/>
                <a:gd name="T56" fmla="*/ 216 w 617"/>
                <a:gd name="T57" fmla="*/ 327 h 655"/>
                <a:gd name="T58" fmla="*/ 222 w 617"/>
                <a:gd name="T59" fmla="*/ 399 h 655"/>
                <a:gd name="T60" fmla="*/ 233 w 617"/>
                <a:gd name="T61" fmla="*/ 439 h 655"/>
                <a:gd name="T62" fmla="*/ 244 w 617"/>
                <a:gd name="T63" fmla="*/ 462 h 655"/>
                <a:gd name="T64" fmla="*/ 267 w 617"/>
                <a:gd name="T65" fmla="*/ 483 h 655"/>
                <a:gd name="T66" fmla="*/ 298 w 617"/>
                <a:gd name="T67" fmla="*/ 494 h 655"/>
                <a:gd name="T68" fmla="*/ 321 w 617"/>
                <a:gd name="T69" fmla="*/ 494 h 655"/>
                <a:gd name="T70" fmla="*/ 352 w 617"/>
                <a:gd name="T71" fmla="*/ 483 h 655"/>
                <a:gd name="T72" fmla="*/ 373 w 617"/>
                <a:gd name="T73" fmla="*/ 462 h 655"/>
                <a:gd name="T74" fmla="*/ 384 w 617"/>
                <a:gd name="T75" fmla="*/ 439 h 655"/>
                <a:gd name="T76" fmla="*/ 394 w 617"/>
                <a:gd name="T77" fmla="*/ 399 h 655"/>
                <a:gd name="T78" fmla="*/ 400 w 617"/>
                <a:gd name="T79" fmla="*/ 327 h 655"/>
                <a:gd name="T80" fmla="*/ 391 w 617"/>
                <a:gd name="T81" fmla="*/ 242 h 655"/>
                <a:gd name="T82" fmla="*/ 379 w 617"/>
                <a:gd name="T83" fmla="*/ 205 h 655"/>
                <a:gd name="T84" fmla="*/ 368 w 617"/>
                <a:gd name="T85" fmla="*/ 187 h 655"/>
                <a:gd name="T86" fmla="*/ 342 w 617"/>
                <a:gd name="T87" fmla="*/ 169 h 655"/>
                <a:gd name="T88" fmla="*/ 309 w 617"/>
                <a:gd name="T89" fmla="*/ 163 h 655"/>
                <a:gd name="T90" fmla="*/ 285 w 617"/>
                <a:gd name="T91" fmla="*/ 166 h 655"/>
                <a:gd name="T92" fmla="*/ 258 w 617"/>
                <a:gd name="T93" fmla="*/ 180 h 655"/>
                <a:gd name="T94" fmla="*/ 239 w 617"/>
                <a:gd name="T95" fmla="*/ 205 h 655"/>
                <a:gd name="T96" fmla="*/ 229 w 617"/>
                <a:gd name="T97" fmla="*/ 228 h 655"/>
                <a:gd name="T98" fmla="*/ 218 w 617"/>
                <a:gd name="T99" fmla="*/ 28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7" h="655">
                  <a:moveTo>
                    <a:pt x="617" y="327"/>
                  </a:moveTo>
                  <a:lnTo>
                    <a:pt x="617" y="327"/>
                  </a:lnTo>
                  <a:lnTo>
                    <a:pt x="616" y="365"/>
                  </a:lnTo>
                  <a:lnTo>
                    <a:pt x="612" y="400"/>
                  </a:lnTo>
                  <a:lnTo>
                    <a:pt x="606" y="434"/>
                  </a:lnTo>
                  <a:lnTo>
                    <a:pt x="596" y="464"/>
                  </a:lnTo>
                  <a:lnTo>
                    <a:pt x="585" y="494"/>
                  </a:lnTo>
                  <a:lnTo>
                    <a:pt x="571" y="522"/>
                  </a:lnTo>
                  <a:lnTo>
                    <a:pt x="554" y="546"/>
                  </a:lnTo>
                  <a:lnTo>
                    <a:pt x="536" y="570"/>
                  </a:lnTo>
                  <a:lnTo>
                    <a:pt x="536" y="570"/>
                  </a:lnTo>
                  <a:lnTo>
                    <a:pt x="525" y="579"/>
                  </a:lnTo>
                  <a:lnTo>
                    <a:pt x="513" y="589"/>
                  </a:lnTo>
                  <a:lnTo>
                    <a:pt x="502" y="599"/>
                  </a:lnTo>
                  <a:lnTo>
                    <a:pt x="491" y="607"/>
                  </a:lnTo>
                  <a:lnTo>
                    <a:pt x="478" y="614"/>
                  </a:lnTo>
                  <a:lnTo>
                    <a:pt x="464" y="621"/>
                  </a:lnTo>
                  <a:lnTo>
                    <a:pt x="438" y="634"/>
                  </a:lnTo>
                  <a:lnTo>
                    <a:pt x="408" y="644"/>
                  </a:lnTo>
                  <a:lnTo>
                    <a:pt x="376" y="651"/>
                  </a:lnTo>
                  <a:lnTo>
                    <a:pt x="342" y="654"/>
                  </a:lnTo>
                  <a:lnTo>
                    <a:pt x="307" y="655"/>
                  </a:lnTo>
                  <a:lnTo>
                    <a:pt x="307" y="655"/>
                  </a:lnTo>
                  <a:lnTo>
                    <a:pt x="272" y="654"/>
                  </a:lnTo>
                  <a:lnTo>
                    <a:pt x="240" y="649"/>
                  </a:lnTo>
                  <a:lnTo>
                    <a:pt x="209" y="644"/>
                  </a:lnTo>
                  <a:lnTo>
                    <a:pt x="181" y="634"/>
                  </a:lnTo>
                  <a:lnTo>
                    <a:pt x="155" y="621"/>
                  </a:lnTo>
                  <a:lnTo>
                    <a:pt x="129" y="606"/>
                  </a:lnTo>
                  <a:lnTo>
                    <a:pt x="106" y="588"/>
                  </a:lnTo>
                  <a:lnTo>
                    <a:pt x="83" y="567"/>
                  </a:lnTo>
                  <a:lnTo>
                    <a:pt x="83" y="567"/>
                  </a:lnTo>
                  <a:lnTo>
                    <a:pt x="64" y="544"/>
                  </a:lnTo>
                  <a:lnTo>
                    <a:pt x="47" y="519"/>
                  </a:lnTo>
                  <a:lnTo>
                    <a:pt x="33" y="491"/>
                  </a:lnTo>
                  <a:lnTo>
                    <a:pt x="21" y="463"/>
                  </a:lnTo>
                  <a:lnTo>
                    <a:pt x="12" y="432"/>
                  </a:lnTo>
                  <a:lnTo>
                    <a:pt x="6" y="399"/>
                  </a:lnTo>
                  <a:lnTo>
                    <a:pt x="2" y="363"/>
                  </a:lnTo>
                  <a:lnTo>
                    <a:pt x="0" y="327"/>
                  </a:lnTo>
                  <a:lnTo>
                    <a:pt x="0" y="327"/>
                  </a:lnTo>
                  <a:lnTo>
                    <a:pt x="2" y="289"/>
                  </a:lnTo>
                  <a:lnTo>
                    <a:pt x="6" y="254"/>
                  </a:lnTo>
                  <a:lnTo>
                    <a:pt x="12" y="221"/>
                  </a:lnTo>
                  <a:lnTo>
                    <a:pt x="21" y="190"/>
                  </a:lnTo>
                  <a:lnTo>
                    <a:pt x="33" y="160"/>
                  </a:lnTo>
                  <a:lnTo>
                    <a:pt x="47" y="134"/>
                  </a:lnTo>
                  <a:lnTo>
                    <a:pt x="64" y="110"/>
                  </a:lnTo>
                  <a:lnTo>
                    <a:pt x="82" y="87"/>
                  </a:lnTo>
                  <a:lnTo>
                    <a:pt x="82" y="87"/>
                  </a:lnTo>
                  <a:lnTo>
                    <a:pt x="103" y="66"/>
                  </a:lnTo>
                  <a:lnTo>
                    <a:pt x="115" y="58"/>
                  </a:lnTo>
                  <a:lnTo>
                    <a:pt x="127" y="50"/>
                  </a:lnTo>
                  <a:lnTo>
                    <a:pt x="152" y="34"/>
                  </a:lnTo>
                  <a:lnTo>
                    <a:pt x="180" y="23"/>
                  </a:lnTo>
                  <a:lnTo>
                    <a:pt x="209" y="13"/>
                  </a:lnTo>
                  <a:lnTo>
                    <a:pt x="242" y="6"/>
                  </a:lnTo>
                  <a:lnTo>
                    <a:pt x="275" y="2"/>
                  </a:lnTo>
                  <a:lnTo>
                    <a:pt x="310" y="0"/>
                  </a:lnTo>
                  <a:lnTo>
                    <a:pt x="310" y="0"/>
                  </a:lnTo>
                  <a:lnTo>
                    <a:pt x="333" y="2"/>
                  </a:lnTo>
                  <a:lnTo>
                    <a:pt x="355" y="3"/>
                  </a:lnTo>
                  <a:lnTo>
                    <a:pt x="376" y="6"/>
                  </a:lnTo>
                  <a:lnTo>
                    <a:pt x="396" y="12"/>
                  </a:lnTo>
                  <a:lnTo>
                    <a:pt x="415" y="17"/>
                  </a:lnTo>
                  <a:lnTo>
                    <a:pt x="435" y="23"/>
                  </a:lnTo>
                  <a:lnTo>
                    <a:pt x="453" y="31"/>
                  </a:lnTo>
                  <a:lnTo>
                    <a:pt x="471" y="41"/>
                  </a:lnTo>
                  <a:lnTo>
                    <a:pt x="471" y="41"/>
                  </a:lnTo>
                  <a:lnTo>
                    <a:pt x="488" y="51"/>
                  </a:lnTo>
                  <a:lnTo>
                    <a:pt x="504" y="62"/>
                  </a:lnTo>
                  <a:lnTo>
                    <a:pt x="519" y="75"/>
                  </a:lnTo>
                  <a:lnTo>
                    <a:pt x="533" y="89"/>
                  </a:lnTo>
                  <a:lnTo>
                    <a:pt x="546" y="104"/>
                  </a:lnTo>
                  <a:lnTo>
                    <a:pt x="558" y="120"/>
                  </a:lnTo>
                  <a:lnTo>
                    <a:pt x="569" y="136"/>
                  </a:lnTo>
                  <a:lnTo>
                    <a:pt x="579" y="155"/>
                  </a:lnTo>
                  <a:lnTo>
                    <a:pt x="579" y="155"/>
                  </a:lnTo>
                  <a:lnTo>
                    <a:pt x="588" y="173"/>
                  </a:lnTo>
                  <a:lnTo>
                    <a:pt x="596" y="192"/>
                  </a:lnTo>
                  <a:lnTo>
                    <a:pt x="602" y="214"/>
                  </a:lnTo>
                  <a:lnTo>
                    <a:pt x="607" y="235"/>
                  </a:lnTo>
                  <a:lnTo>
                    <a:pt x="612" y="257"/>
                  </a:lnTo>
                  <a:lnTo>
                    <a:pt x="614" y="279"/>
                  </a:lnTo>
                  <a:lnTo>
                    <a:pt x="616" y="303"/>
                  </a:lnTo>
                  <a:lnTo>
                    <a:pt x="617" y="327"/>
                  </a:lnTo>
                  <a:close/>
                  <a:moveTo>
                    <a:pt x="216" y="327"/>
                  </a:moveTo>
                  <a:lnTo>
                    <a:pt x="216" y="327"/>
                  </a:lnTo>
                  <a:lnTo>
                    <a:pt x="218" y="365"/>
                  </a:lnTo>
                  <a:lnTo>
                    <a:pt x="222" y="399"/>
                  </a:lnTo>
                  <a:lnTo>
                    <a:pt x="225" y="414"/>
                  </a:lnTo>
                  <a:lnTo>
                    <a:pt x="229" y="428"/>
                  </a:lnTo>
                  <a:lnTo>
                    <a:pt x="233" y="439"/>
                  </a:lnTo>
                  <a:lnTo>
                    <a:pt x="239" y="452"/>
                  </a:lnTo>
                  <a:lnTo>
                    <a:pt x="239" y="452"/>
                  </a:lnTo>
                  <a:lnTo>
                    <a:pt x="244" y="462"/>
                  </a:lnTo>
                  <a:lnTo>
                    <a:pt x="250" y="470"/>
                  </a:lnTo>
                  <a:lnTo>
                    <a:pt x="258" y="477"/>
                  </a:lnTo>
                  <a:lnTo>
                    <a:pt x="267" y="483"/>
                  </a:lnTo>
                  <a:lnTo>
                    <a:pt x="277" y="488"/>
                  </a:lnTo>
                  <a:lnTo>
                    <a:pt x="286" y="491"/>
                  </a:lnTo>
                  <a:lnTo>
                    <a:pt x="298" y="494"/>
                  </a:lnTo>
                  <a:lnTo>
                    <a:pt x="309" y="494"/>
                  </a:lnTo>
                  <a:lnTo>
                    <a:pt x="309" y="494"/>
                  </a:lnTo>
                  <a:lnTo>
                    <a:pt x="321" y="494"/>
                  </a:lnTo>
                  <a:lnTo>
                    <a:pt x="333" y="491"/>
                  </a:lnTo>
                  <a:lnTo>
                    <a:pt x="342" y="488"/>
                  </a:lnTo>
                  <a:lnTo>
                    <a:pt x="352" y="483"/>
                  </a:lnTo>
                  <a:lnTo>
                    <a:pt x="361" y="477"/>
                  </a:lnTo>
                  <a:lnTo>
                    <a:pt x="368" y="470"/>
                  </a:lnTo>
                  <a:lnTo>
                    <a:pt x="373" y="462"/>
                  </a:lnTo>
                  <a:lnTo>
                    <a:pt x="379" y="452"/>
                  </a:lnTo>
                  <a:lnTo>
                    <a:pt x="379" y="452"/>
                  </a:lnTo>
                  <a:lnTo>
                    <a:pt x="384" y="439"/>
                  </a:lnTo>
                  <a:lnTo>
                    <a:pt x="389" y="428"/>
                  </a:lnTo>
                  <a:lnTo>
                    <a:pt x="391" y="414"/>
                  </a:lnTo>
                  <a:lnTo>
                    <a:pt x="394" y="399"/>
                  </a:lnTo>
                  <a:lnTo>
                    <a:pt x="398" y="365"/>
                  </a:lnTo>
                  <a:lnTo>
                    <a:pt x="400" y="327"/>
                  </a:lnTo>
                  <a:lnTo>
                    <a:pt x="400" y="327"/>
                  </a:lnTo>
                  <a:lnTo>
                    <a:pt x="398" y="289"/>
                  </a:lnTo>
                  <a:lnTo>
                    <a:pt x="394" y="256"/>
                  </a:lnTo>
                  <a:lnTo>
                    <a:pt x="391" y="242"/>
                  </a:lnTo>
                  <a:lnTo>
                    <a:pt x="389" y="228"/>
                  </a:lnTo>
                  <a:lnTo>
                    <a:pt x="384" y="216"/>
                  </a:lnTo>
                  <a:lnTo>
                    <a:pt x="379" y="205"/>
                  </a:lnTo>
                  <a:lnTo>
                    <a:pt x="379" y="205"/>
                  </a:lnTo>
                  <a:lnTo>
                    <a:pt x="373" y="195"/>
                  </a:lnTo>
                  <a:lnTo>
                    <a:pt x="368" y="187"/>
                  </a:lnTo>
                  <a:lnTo>
                    <a:pt x="359" y="180"/>
                  </a:lnTo>
                  <a:lnTo>
                    <a:pt x="351" y="174"/>
                  </a:lnTo>
                  <a:lnTo>
                    <a:pt x="342" y="169"/>
                  </a:lnTo>
                  <a:lnTo>
                    <a:pt x="331" y="166"/>
                  </a:lnTo>
                  <a:lnTo>
                    <a:pt x="320" y="164"/>
                  </a:lnTo>
                  <a:lnTo>
                    <a:pt x="309" y="163"/>
                  </a:lnTo>
                  <a:lnTo>
                    <a:pt x="309" y="163"/>
                  </a:lnTo>
                  <a:lnTo>
                    <a:pt x="296" y="164"/>
                  </a:lnTo>
                  <a:lnTo>
                    <a:pt x="285" y="166"/>
                  </a:lnTo>
                  <a:lnTo>
                    <a:pt x="275" y="169"/>
                  </a:lnTo>
                  <a:lnTo>
                    <a:pt x="267" y="174"/>
                  </a:lnTo>
                  <a:lnTo>
                    <a:pt x="258" y="180"/>
                  </a:lnTo>
                  <a:lnTo>
                    <a:pt x="250" y="187"/>
                  </a:lnTo>
                  <a:lnTo>
                    <a:pt x="244" y="195"/>
                  </a:lnTo>
                  <a:lnTo>
                    <a:pt x="239" y="205"/>
                  </a:lnTo>
                  <a:lnTo>
                    <a:pt x="239" y="205"/>
                  </a:lnTo>
                  <a:lnTo>
                    <a:pt x="233" y="215"/>
                  </a:lnTo>
                  <a:lnTo>
                    <a:pt x="229" y="228"/>
                  </a:lnTo>
                  <a:lnTo>
                    <a:pt x="225" y="242"/>
                  </a:lnTo>
                  <a:lnTo>
                    <a:pt x="222" y="256"/>
                  </a:lnTo>
                  <a:lnTo>
                    <a:pt x="218" y="289"/>
                  </a:lnTo>
                  <a:lnTo>
                    <a:pt x="216" y="3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2">
              <a:extLst>
                <a:ext uri="{FF2B5EF4-FFF2-40B4-BE49-F238E27FC236}">
                  <a16:creationId xmlns:a16="http://schemas.microsoft.com/office/drawing/2014/main" id="{434C0316-9EB0-4FF7-AD6D-103FC6A8E27A}"/>
                </a:ext>
              </a:extLst>
            </p:cNvPr>
            <p:cNvSpPr>
              <a:spLocks/>
            </p:cNvSpPr>
            <p:nvPr/>
          </p:nvSpPr>
          <p:spPr bwMode="auto">
            <a:xfrm>
              <a:off x="3554" y="1731"/>
              <a:ext cx="308" cy="327"/>
            </a:xfrm>
            <a:custGeom>
              <a:avLst/>
              <a:gdLst>
                <a:gd name="T0" fmla="*/ 617 w 617"/>
                <a:gd name="T1" fmla="*/ 327 h 655"/>
                <a:gd name="T2" fmla="*/ 612 w 617"/>
                <a:gd name="T3" fmla="*/ 400 h 655"/>
                <a:gd name="T4" fmla="*/ 596 w 617"/>
                <a:gd name="T5" fmla="*/ 464 h 655"/>
                <a:gd name="T6" fmla="*/ 571 w 617"/>
                <a:gd name="T7" fmla="*/ 522 h 655"/>
                <a:gd name="T8" fmla="*/ 536 w 617"/>
                <a:gd name="T9" fmla="*/ 570 h 655"/>
                <a:gd name="T10" fmla="*/ 525 w 617"/>
                <a:gd name="T11" fmla="*/ 579 h 655"/>
                <a:gd name="T12" fmla="*/ 502 w 617"/>
                <a:gd name="T13" fmla="*/ 599 h 655"/>
                <a:gd name="T14" fmla="*/ 478 w 617"/>
                <a:gd name="T15" fmla="*/ 614 h 655"/>
                <a:gd name="T16" fmla="*/ 438 w 617"/>
                <a:gd name="T17" fmla="*/ 634 h 655"/>
                <a:gd name="T18" fmla="*/ 376 w 617"/>
                <a:gd name="T19" fmla="*/ 651 h 655"/>
                <a:gd name="T20" fmla="*/ 307 w 617"/>
                <a:gd name="T21" fmla="*/ 655 h 655"/>
                <a:gd name="T22" fmla="*/ 272 w 617"/>
                <a:gd name="T23" fmla="*/ 654 h 655"/>
                <a:gd name="T24" fmla="*/ 209 w 617"/>
                <a:gd name="T25" fmla="*/ 644 h 655"/>
                <a:gd name="T26" fmla="*/ 155 w 617"/>
                <a:gd name="T27" fmla="*/ 621 h 655"/>
                <a:gd name="T28" fmla="*/ 106 w 617"/>
                <a:gd name="T29" fmla="*/ 588 h 655"/>
                <a:gd name="T30" fmla="*/ 83 w 617"/>
                <a:gd name="T31" fmla="*/ 567 h 655"/>
                <a:gd name="T32" fmla="*/ 47 w 617"/>
                <a:gd name="T33" fmla="*/ 519 h 655"/>
                <a:gd name="T34" fmla="*/ 21 w 617"/>
                <a:gd name="T35" fmla="*/ 463 h 655"/>
                <a:gd name="T36" fmla="*/ 6 w 617"/>
                <a:gd name="T37" fmla="*/ 399 h 655"/>
                <a:gd name="T38" fmla="*/ 0 w 617"/>
                <a:gd name="T39" fmla="*/ 327 h 655"/>
                <a:gd name="T40" fmla="*/ 2 w 617"/>
                <a:gd name="T41" fmla="*/ 289 h 655"/>
                <a:gd name="T42" fmla="*/ 12 w 617"/>
                <a:gd name="T43" fmla="*/ 221 h 655"/>
                <a:gd name="T44" fmla="*/ 33 w 617"/>
                <a:gd name="T45" fmla="*/ 160 h 655"/>
                <a:gd name="T46" fmla="*/ 64 w 617"/>
                <a:gd name="T47" fmla="*/ 110 h 655"/>
                <a:gd name="T48" fmla="*/ 82 w 617"/>
                <a:gd name="T49" fmla="*/ 87 h 655"/>
                <a:gd name="T50" fmla="*/ 115 w 617"/>
                <a:gd name="T51" fmla="*/ 58 h 655"/>
                <a:gd name="T52" fmla="*/ 152 w 617"/>
                <a:gd name="T53" fmla="*/ 34 h 655"/>
                <a:gd name="T54" fmla="*/ 209 w 617"/>
                <a:gd name="T55" fmla="*/ 13 h 655"/>
                <a:gd name="T56" fmla="*/ 275 w 617"/>
                <a:gd name="T57" fmla="*/ 2 h 655"/>
                <a:gd name="T58" fmla="*/ 310 w 617"/>
                <a:gd name="T59" fmla="*/ 0 h 655"/>
                <a:gd name="T60" fmla="*/ 355 w 617"/>
                <a:gd name="T61" fmla="*/ 3 h 655"/>
                <a:gd name="T62" fmla="*/ 396 w 617"/>
                <a:gd name="T63" fmla="*/ 12 h 655"/>
                <a:gd name="T64" fmla="*/ 435 w 617"/>
                <a:gd name="T65" fmla="*/ 23 h 655"/>
                <a:gd name="T66" fmla="*/ 471 w 617"/>
                <a:gd name="T67" fmla="*/ 41 h 655"/>
                <a:gd name="T68" fmla="*/ 488 w 617"/>
                <a:gd name="T69" fmla="*/ 51 h 655"/>
                <a:gd name="T70" fmla="*/ 519 w 617"/>
                <a:gd name="T71" fmla="*/ 75 h 655"/>
                <a:gd name="T72" fmla="*/ 546 w 617"/>
                <a:gd name="T73" fmla="*/ 104 h 655"/>
                <a:gd name="T74" fmla="*/ 569 w 617"/>
                <a:gd name="T75" fmla="*/ 136 h 655"/>
                <a:gd name="T76" fmla="*/ 579 w 617"/>
                <a:gd name="T77" fmla="*/ 155 h 655"/>
                <a:gd name="T78" fmla="*/ 596 w 617"/>
                <a:gd name="T79" fmla="*/ 192 h 655"/>
                <a:gd name="T80" fmla="*/ 607 w 617"/>
                <a:gd name="T81" fmla="*/ 235 h 655"/>
                <a:gd name="T82" fmla="*/ 614 w 617"/>
                <a:gd name="T83" fmla="*/ 279 h 655"/>
                <a:gd name="T84" fmla="*/ 617 w 617"/>
                <a:gd name="T85" fmla="*/ 32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7" h="655">
                  <a:moveTo>
                    <a:pt x="617" y="327"/>
                  </a:moveTo>
                  <a:lnTo>
                    <a:pt x="617" y="327"/>
                  </a:lnTo>
                  <a:lnTo>
                    <a:pt x="616" y="365"/>
                  </a:lnTo>
                  <a:lnTo>
                    <a:pt x="612" y="400"/>
                  </a:lnTo>
                  <a:lnTo>
                    <a:pt x="606" y="434"/>
                  </a:lnTo>
                  <a:lnTo>
                    <a:pt x="596" y="464"/>
                  </a:lnTo>
                  <a:lnTo>
                    <a:pt x="585" y="494"/>
                  </a:lnTo>
                  <a:lnTo>
                    <a:pt x="571" y="522"/>
                  </a:lnTo>
                  <a:lnTo>
                    <a:pt x="554" y="546"/>
                  </a:lnTo>
                  <a:lnTo>
                    <a:pt x="536" y="570"/>
                  </a:lnTo>
                  <a:lnTo>
                    <a:pt x="536" y="570"/>
                  </a:lnTo>
                  <a:lnTo>
                    <a:pt x="525" y="579"/>
                  </a:lnTo>
                  <a:lnTo>
                    <a:pt x="513" y="589"/>
                  </a:lnTo>
                  <a:lnTo>
                    <a:pt x="502" y="599"/>
                  </a:lnTo>
                  <a:lnTo>
                    <a:pt x="491" y="607"/>
                  </a:lnTo>
                  <a:lnTo>
                    <a:pt x="478" y="614"/>
                  </a:lnTo>
                  <a:lnTo>
                    <a:pt x="464" y="621"/>
                  </a:lnTo>
                  <a:lnTo>
                    <a:pt x="438" y="634"/>
                  </a:lnTo>
                  <a:lnTo>
                    <a:pt x="408" y="644"/>
                  </a:lnTo>
                  <a:lnTo>
                    <a:pt x="376" y="651"/>
                  </a:lnTo>
                  <a:lnTo>
                    <a:pt x="342" y="654"/>
                  </a:lnTo>
                  <a:lnTo>
                    <a:pt x="307" y="655"/>
                  </a:lnTo>
                  <a:lnTo>
                    <a:pt x="307" y="655"/>
                  </a:lnTo>
                  <a:lnTo>
                    <a:pt x="272" y="654"/>
                  </a:lnTo>
                  <a:lnTo>
                    <a:pt x="240" y="649"/>
                  </a:lnTo>
                  <a:lnTo>
                    <a:pt x="209" y="644"/>
                  </a:lnTo>
                  <a:lnTo>
                    <a:pt x="181" y="634"/>
                  </a:lnTo>
                  <a:lnTo>
                    <a:pt x="155" y="621"/>
                  </a:lnTo>
                  <a:lnTo>
                    <a:pt x="129" y="606"/>
                  </a:lnTo>
                  <a:lnTo>
                    <a:pt x="106" y="588"/>
                  </a:lnTo>
                  <a:lnTo>
                    <a:pt x="83" y="567"/>
                  </a:lnTo>
                  <a:lnTo>
                    <a:pt x="83" y="567"/>
                  </a:lnTo>
                  <a:lnTo>
                    <a:pt x="64" y="544"/>
                  </a:lnTo>
                  <a:lnTo>
                    <a:pt x="47" y="519"/>
                  </a:lnTo>
                  <a:lnTo>
                    <a:pt x="33" y="491"/>
                  </a:lnTo>
                  <a:lnTo>
                    <a:pt x="21" y="463"/>
                  </a:lnTo>
                  <a:lnTo>
                    <a:pt x="12" y="432"/>
                  </a:lnTo>
                  <a:lnTo>
                    <a:pt x="6" y="399"/>
                  </a:lnTo>
                  <a:lnTo>
                    <a:pt x="2" y="363"/>
                  </a:lnTo>
                  <a:lnTo>
                    <a:pt x="0" y="327"/>
                  </a:lnTo>
                  <a:lnTo>
                    <a:pt x="0" y="327"/>
                  </a:lnTo>
                  <a:lnTo>
                    <a:pt x="2" y="289"/>
                  </a:lnTo>
                  <a:lnTo>
                    <a:pt x="6" y="254"/>
                  </a:lnTo>
                  <a:lnTo>
                    <a:pt x="12" y="221"/>
                  </a:lnTo>
                  <a:lnTo>
                    <a:pt x="21" y="190"/>
                  </a:lnTo>
                  <a:lnTo>
                    <a:pt x="33" y="160"/>
                  </a:lnTo>
                  <a:lnTo>
                    <a:pt x="47" y="134"/>
                  </a:lnTo>
                  <a:lnTo>
                    <a:pt x="64" y="110"/>
                  </a:lnTo>
                  <a:lnTo>
                    <a:pt x="82" y="87"/>
                  </a:lnTo>
                  <a:lnTo>
                    <a:pt x="82" y="87"/>
                  </a:lnTo>
                  <a:lnTo>
                    <a:pt x="103" y="66"/>
                  </a:lnTo>
                  <a:lnTo>
                    <a:pt x="115" y="58"/>
                  </a:lnTo>
                  <a:lnTo>
                    <a:pt x="127" y="50"/>
                  </a:lnTo>
                  <a:lnTo>
                    <a:pt x="152" y="34"/>
                  </a:lnTo>
                  <a:lnTo>
                    <a:pt x="180" y="23"/>
                  </a:lnTo>
                  <a:lnTo>
                    <a:pt x="209" y="13"/>
                  </a:lnTo>
                  <a:lnTo>
                    <a:pt x="242" y="6"/>
                  </a:lnTo>
                  <a:lnTo>
                    <a:pt x="275" y="2"/>
                  </a:lnTo>
                  <a:lnTo>
                    <a:pt x="310" y="0"/>
                  </a:lnTo>
                  <a:lnTo>
                    <a:pt x="310" y="0"/>
                  </a:lnTo>
                  <a:lnTo>
                    <a:pt x="333" y="2"/>
                  </a:lnTo>
                  <a:lnTo>
                    <a:pt x="355" y="3"/>
                  </a:lnTo>
                  <a:lnTo>
                    <a:pt x="376" y="6"/>
                  </a:lnTo>
                  <a:lnTo>
                    <a:pt x="396" y="12"/>
                  </a:lnTo>
                  <a:lnTo>
                    <a:pt x="415" y="17"/>
                  </a:lnTo>
                  <a:lnTo>
                    <a:pt x="435" y="23"/>
                  </a:lnTo>
                  <a:lnTo>
                    <a:pt x="453" y="31"/>
                  </a:lnTo>
                  <a:lnTo>
                    <a:pt x="471" y="41"/>
                  </a:lnTo>
                  <a:lnTo>
                    <a:pt x="471" y="41"/>
                  </a:lnTo>
                  <a:lnTo>
                    <a:pt x="488" y="51"/>
                  </a:lnTo>
                  <a:lnTo>
                    <a:pt x="504" y="62"/>
                  </a:lnTo>
                  <a:lnTo>
                    <a:pt x="519" y="75"/>
                  </a:lnTo>
                  <a:lnTo>
                    <a:pt x="533" y="89"/>
                  </a:lnTo>
                  <a:lnTo>
                    <a:pt x="546" y="104"/>
                  </a:lnTo>
                  <a:lnTo>
                    <a:pt x="558" y="120"/>
                  </a:lnTo>
                  <a:lnTo>
                    <a:pt x="569" y="136"/>
                  </a:lnTo>
                  <a:lnTo>
                    <a:pt x="579" y="155"/>
                  </a:lnTo>
                  <a:lnTo>
                    <a:pt x="579" y="155"/>
                  </a:lnTo>
                  <a:lnTo>
                    <a:pt x="588" y="173"/>
                  </a:lnTo>
                  <a:lnTo>
                    <a:pt x="596" y="192"/>
                  </a:lnTo>
                  <a:lnTo>
                    <a:pt x="602" y="214"/>
                  </a:lnTo>
                  <a:lnTo>
                    <a:pt x="607" y="235"/>
                  </a:lnTo>
                  <a:lnTo>
                    <a:pt x="612" y="257"/>
                  </a:lnTo>
                  <a:lnTo>
                    <a:pt x="614" y="279"/>
                  </a:lnTo>
                  <a:lnTo>
                    <a:pt x="616" y="303"/>
                  </a:lnTo>
                  <a:lnTo>
                    <a:pt x="617" y="3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3">
              <a:extLst>
                <a:ext uri="{FF2B5EF4-FFF2-40B4-BE49-F238E27FC236}">
                  <a16:creationId xmlns:a16="http://schemas.microsoft.com/office/drawing/2014/main" id="{7139CB75-914F-4C4B-A536-547E6CD9298B}"/>
                </a:ext>
              </a:extLst>
            </p:cNvPr>
            <p:cNvSpPr>
              <a:spLocks/>
            </p:cNvSpPr>
            <p:nvPr/>
          </p:nvSpPr>
          <p:spPr bwMode="auto">
            <a:xfrm>
              <a:off x="3662" y="1812"/>
              <a:ext cx="91" cy="165"/>
            </a:xfrm>
            <a:custGeom>
              <a:avLst/>
              <a:gdLst>
                <a:gd name="T0" fmla="*/ 0 w 184"/>
                <a:gd name="T1" fmla="*/ 164 h 331"/>
                <a:gd name="T2" fmla="*/ 6 w 184"/>
                <a:gd name="T3" fmla="*/ 236 h 331"/>
                <a:gd name="T4" fmla="*/ 13 w 184"/>
                <a:gd name="T5" fmla="*/ 265 h 331"/>
                <a:gd name="T6" fmla="*/ 23 w 184"/>
                <a:gd name="T7" fmla="*/ 289 h 331"/>
                <a:gd name="T8" fmla="*/ 28 w 184"/>
                <a:gd name="T9" fmla="*/ 299 h 331"/>
                <a:gd name="T10" fmla="*/ 42 w 184"/>
                <a:gd name="T11" fmla="*/ 314 h 331"/>
                <a:gd name="T12" fmla="*/ 61 w 184"/>
                <a:gd name="T13" fmla="*/ 325 h 331"/>
                <a:gd name="T14" fmla="*/ 82 w 184"/>
                <a:gd name="T15" fmla="*/ 331 h 331"/>
                <a:gd name="T16" fmla="*/ 93 w 184"/>
                <a:gd name="T17" fmla="*/ 331 h 331"/>
                <a:gd name="T18" fmla="*/ 117 w 184"/>
                <a:gd name="T19" fmla="*/ 328 h 331"/>
                <a:gd name="T20" fmla="*/ 136 w 184"/>
                <a:gd name="T21" fmla="*/ 320 h 331"/>
                <a:gd name="T22" fmla="*/ 152 w 184"/>
                <a:gd name="T23" fmla="*/ 307 h 331"/>
                <a:gd name="T24" fmla="*/ 163 w 184"/>
                <a:gd name="T25" fmla="*/ 289 h 331"/>
                <a:gd name="T26" fmla="*/ 168 w 184"/>
                <a:gd name="T27" fmla="*/ 276 h 331"/>
                <a:gd name="T28" fmla="*/ 175 w 184"/>
                <a:gd name="T29" fmla="*/ 251 h 331"/>
                <a:gd name="T30" fmla="*/ 182 w 184"/>
                <a:gd name="T31" fmla="*/ 202 h 331"/>
                <a:gd name="T32" fmla="*/ 184 w 184"/>
                <a:gd name="T33" fmla="*/ 164 h 331"/>
                <a:gd name="T34" fmla="*/ 178 w 184"/>
                <a:gd name="T35" fmla="*/ 93 h 331"/>
                <a:gd name="T36" fmla="*/ 173 w 184"/>
                <a:gd name="T37" fmla="*/ 65 h 331"/>
                <a:gd name="T38" fmla="*/ 163 w 184"/>
                <a:gd name="T39" fmla="*/ 42 h 331"/>
                <a:gd name="T40" fmla="*/ 157 w 184"/>
                <a:gd name="T41" fmla="*/ 32 h 331"/>
                <a:gd name="T42" fmla="*/ 143 w 184"/>
                <a:gd name="T43" fmla="*/ 17 h 331"/>
                <a:gd name="T44" fmla="*/ 126 w 184"/>
                <a:gd name="T45" fmla="*/ 6 h 331"/>
                <a:gd name="T46" fmla="*/ 104 w 184"/>
                <a:gd name="T47" fmla="*/ 1 h 331"/>
                <a:gd name="T48" fmla="*/ 93 w 184"/>
                <a:gd name="T49" fmla="*/ 0 h 331"/>
                <a:gd name="T50" fmla="*/ 69 w 184"/>
                <a:gd name="T51" fmla="*/ 3 h 331"/>
                <a:gd name="T52" fmla="*/ 51 w 184"/>
                <a:gd name="T53" fmla="*/ 11 h 331"/>
                <a:gd name="T54" fmla="*/ 34 w 184"/>
                <a:gd name="T55" fmla="*/ 24 h 331"/>
                <a:gd name="T56" fmla="*/ 23 w 184"/>
                <a:gd name="T57" fmla="*/ 42 h 331"/>
                <a:gd name="T58" fmla="*/ 17 w 184"/>
                <a:gd name="T59" fmla="*/ 52 h 331"/>
                <a:gd name="T60" fmla="*/ 9 w 184"/>
                <a:gd name="T61" fmla="*/ 79 h 331"/>
                <a:gd name="T62" fmla="*/ 2 w 184"/>
                <a:gd name="T63" fmla="*/ 12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4" h="331">
                  <a:moveTo>
                    <a:pt x="0" y="164"/>
                  </a:moveTo>
                  <a:lnTo>
                    <a:pt x="0" y="164"/>
                  </a:lnTo>
                  <a:lnTo>
                    <a:pt x="2" y="202"/>
                  </a:lnTo>
                  <a:lnTo>
                    <a:pt x="6" y="236"/>
                  </a:lnTo>
                  <a:lnTo>
                    <a:pt x="9" y="251"/>
                  </a:lnTo>
                  <a:lnTo>
                    <a:pt x="13" y="265"/>
                  </a:lnTo>
                  <a:lnTo>
                    <a:pt x="17" y="276"/>
                  </a:lnTo>
                  <a:lnTo>
                    <a:pt x="23" y="289"/>
                  </a:lnTo>
                  <a:lnTo>
                    <a:pt x="23" y="289"/>
                  </a:lnTo>
                  <a:lnTo>
                    <a:pt x="28" y="299"/>
                  </a:lnTo>
                  <a:lnTo>
                    <a:pt x="34" y="307"/>
                  </a:lnTo>
                  <a:lnTo>
                    <a:pt x="42" y="314"/>
                  </a:lnTo>
                  <a:lnTo>
                    <a:pt x="51" y="320"/>
                  </a:lnTo>
                  <a:lnTo>
                    <a:pt x="61" y="325"/>
                  </a:lnTo>
                  <a:lnTo>
                    <a:pt x="70" y="328"/>
                  </a:lnTo>
                  <a:lnTo>
                    <a:pt x="82" y="331"/>
                  </a:lnTo>
                  <a:lnTo>
                    <a:pt x="93" y="331"/>
                  </a:lnTo>
                  <a:lnTo>
                    <a:pt x="93" y="331"/>
                  </a:lnTo>
                  <a:lnTo>
                    <a:pt x="105" y="331"/>
                  </a:lnTo>
                  <a:lnTo>
                    <a:pt x="117" y="328"/>
                  </a:lnTo>
                  <a:lnTo>
                    <a:pt x="126" y="325"/>
                  </a:lnTo>
                  <a:lnTo>
                    <a:pt x="136" y="320"/>
                  </a:lnTo>
                  <a:lnTo>
                    <a:pt x="145" y="314"/>
                  </a:lnTo>
                  <a:lnTo>
                    <a:pt x="152" y="307"/>
                  </a:lnTo>
                  <a:lnTo>
                    <a:pt x="157" y="299"/>
                  </a:lnTo>
                  <a:lnTo>
                    <a:pt x="163" y="289"/>
                  </a:lnTo>
                  <a:lnTo>
                    <a:pt x="163" y="289"/>
                  </a:lnTo>
                  <a:lnTo>
                    <a:pt x="168" y="276"/>
                  </a:lnTo>
                  <a:lnTo>
                    <a:pt x="173" y="265"/>
                  </a:lnTo>
                  <a:lnTo>
                    <a:pt x="175" y="251"/>
                  </a:lnTo>
                  <a:lnTo>
                    <a:pt x="178" y="236"/>
                  </a:lnTo>
                  <a:lnTo>
                    <a:pt x="182" y="202"/>
                  </a:lnTo>
                  <a:lnTo>
                    <a:pt x="184" y="164"/>
                  </a:lnTo>
                  <a:lnTo>
                    <a:pt x="184" y="164"/>
                  </a:lnTo>
                  <a:lnTo>
                    <a:pt x="182" y="126"/>
                  </a:lnTo>
                  <a:lnTo>
                    <a:pt x="178" y="93"/>
                  </a:lnTo>
                  <a:lnTo>
                    <a:pt x="175" y="79"/>
                  </a:lnTo>
                  <a:lnTo>
                    <a:pt x="173" y="65"/>
                  </a:lnTo>
                  <a:lnTo>
                    <a:pt x="168" y="53"/>
                  </a:lnTo>
                  <a:lnTo>
                    <a:pt x="163" y="42"/>
                  </a:lnTo>
                  <a:lnTo>
                    <a:pt x="163" y="42"/>
                  </a:lnTo>
                  <a:lnTo>
                    <a:pt x="157" y="32"/>
                  </a:lnTo>
                  <a:lnTo>
                    <a:pt x="152" y="24"/>
                  </a:lnTo>
                  <a:lnTo>
                    <a:pt x="143" y="17"/>
                  </a:lnTo>
                  <a:lnTo>
                    <a:pt x="135" y="11"/>
                  </a:lnTo>
                  <a:lnTo>
                    <a:pt x="126" y="6"/>
                  </a:lnTo>
                  <a:lnTo>
                    <a:pt x="115" y="3"/>
                  </a:lnTo>
                  <a:lnTo>
                    <a:pt x="104" y="1"/>
                  </a:lnTo>
                  <a:lnTo>
                    <a:pt x="93" y="0"/>
                  </a:lnTo>
                  <a:lnTo>
                    <a:pt x="93" y="0"/>
                  </a:lnTo>
                  <a:lnTo>
                    <a:pt x="80" y="1"/>
                  </a:lnTo>
                  <a:lnTo>
                    <a:pt x="69" y="3"/>
                  </a:lnTo>
                  <a:lnTo>
                    <a:pt x="59" y="6"/>
                  </a:lnTo>
                  <a:lnTo>
                    <a:pt x="51" y="11"/>
                  </a:lnTo>
                  <a:lnTo>
                    <a:pt x="42" y="17"/>
                  </a:lnTo>
                  <a:lnTo>
                    <a:pt x="34" y="24"/>
                  </a:lnTo>
                  <a:lnTo>
                    <a:pt x="28" y="32"/>
                  </a:lnTo>
                  <a:lnTo>
                    <a:pt x="23" y="42"/>
                  </a:lnTo>
                  <a:lnTo>
                    <a:pt x="23" y="42"/>
                  </a:lnTo>
                  <a:lnTo>
                    <a:pt x="17" y="52"/>
                  </a:lnTo>
                  <a:lnTo>
                    <a:pt x="13" y="65"/>
                  </a:lnTo>
                  <a:lnTo>
                    <a:pt x="9" y="79"/>
                  </a:lnTo>
                  <a:lnTo>
                    <a:pt x="6" y="93"/>
                  </a:lnTo>
                  <a:lnTo>
                    <a:pt x="2" y="126"/>
                  </a:lnTo>
                  <a:lnTo>
                    <a:pt x="0" y="1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
              <a:extLst>
                <a:ext uri="{FF2B5EF4-FFF2-40B4-BE49-F238E27FC236}">
                  <a16:creationId xmlns:a16="http://schemas.microsoft.com/office/drawing/2014/main" id="{EFA3D0F1-A7A0-4B81-A659-8036FEBC982B}"/>
                </a:ext>
              </a:extLst>
            </p:cNvPr>
            <p:cNvSpPr>
              <a:spLocks noChangeArrowheads="1"/>
            </p:cNvSpPr>
            <p:nvPr/>
          </p:nvSpPr>
          <p:spPr bwMode="auto">
            <a:xfrm>
              <a:off x="3904" y="1736"/>
              <a:ext cx="107" cy="3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Rectangle 15">
              <a:extLst>
                <a:ext uri="{FF2B5EF4-FFF2-40B4-BE49-F238E27FC236}">
                  <a16:creationId xmlns:a16="http://schemas.microsoft.com/office/drawing/2014/main" id="{B386150B-0EEC-4449-951E-6B9C7B64D2B2}"/>
                </a:ext>
              </a:extLst>
            </p:cNvPr>
            <p:cNvSpPr>
              <a:spLocks noChangeArrowheads="1"/>
            </p:cNvSpPr>
            <p:nvPr/>
          </p:nvSpPr>
          <p:spPr bwMode="auto">
            <a:xfrm>
              <a:off x="3904" y="1627"/>
              <a:ext cx="107" cy="7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6">
              <a:extLst>
                <a:ext uri="{FF2B5EF4-FFF2-40B4-BE49-F238E27FC236}">
                  <a16:creationId xmlns:a16="http://schemas.microsoft.com/office/drawing/2014/main" id="{5B038586-158D-493D-9C29-9D582E983065}"/>
                </a:ext>
              </a:extLst>
            </p:cNvPr>
            <p:cNvSpPr>
              <a:spLocks/>
            </p:cNvSpPr>
            <p:nvPr/>
          </p:nvSpPr>
          <p:spPr bwMode="auto">
            <a:xfrm>
              <a:off x="4053" y="1638"/>
              <a:ext cx="225" cy="420"/>
            </a:xfrm>
            <a:custGeom>
              <a:avLst/>
              <a:gdLst>
                <a:gd name="T0" fmla="*/ 348 w 452"/>
                <a:gd name="T1" fmla="*/ 669 h 841"/>
                <a:gd name="T2" fmla="*/ 348 w 452"/>
                <a:gd name="T3" fmla="*/ 669 h 841"/>
                <a:gd name="T4" fmla="*/ 370 w 452"/>
                <a:gd name="T5" fmla="*/ 667 h 841"/>
                <a:gd name="T6" fmla="*/ 396 w 452"/>
                <a:gd name="T7" fmla="*/ 664 h 841"/>
                <a:gd name="T8" fmla="*/ 422 w 452"/>
                <a:gd name="T9" fmla="*/ 657 h 841"/>
                <a:gd name="T10" fmla="*/ 452 w 452"/>
                <a:gd name="T11" fmla="*/ 648 h 841"/>
                <a:gd name="T12" fmla="*/ 452 w 452"/>
                <a:gd name="T13" fmla="*/ 806 h 841"/>
                <a:gd name="T14" fmla="*/ 452 w 452"/>
                <a:gd name="T15" fmla="*/ 806 h 841"/>
                <a:gd name="T16" fmla="*/ 429 w 452"/>
                <a:gd name="T17" fmla="*/ 816 h 841"/>
                <a:gd name="T18" fmla="*/ 410 w 452"/>
                <a:gd name="T19" fmla="*/ 823 h 841"/>
                <a:gd name="T20" fmla="*/ 389 w 452"/>
                <a:gd name="T21" fmla="*/ 828 h 841"/>
                <a:gd name="T22" fmla="*/ 369 w 452"/>
                <a:gd name="T23" fmla="*/ 834 h 841"/>
                <a:gd name="T24" fmla="*/ 369 w 452"/>
                <a:gd name="T25" fmla="*/ 834 h 841"/>
                <a:gd name="T26" fmla="*/ 349 w 452"/>
                <a:gd name="T27" fmla="*/ 837 h 841"/>
                <a:gd name="T28" fmla="*/ 327 w 452"/>
                <a:gd name="T29" fmla="*/ 840 h 841"/>
                <a:gd name="T30" fmla="*/ 303 w 452"/>
                <a:gd name="T31" fmla="*/ 841 h 841"/>
                <a:gd name="T32" fmla="*/ 278 w 452"/>
                <a:gd name="T33" fmla="*/ 841 h 841"/>
                <a:gd name="T34" fmla="*/ 278 w 452"/>
                <a:gd name="T35" fmla="*/ 841 h 841"/>
                <a:gd name="T36" fmla="*/ 251 w 452"/>
                <a:gd name="T37" fmla="*/ 841 h 841"/>
                <a:gd name="T38" fmla="*/ 227 w 452"/>
                <a:gd name="T39" fmla="*/ 838 h 841"/>
                <a:gd name="T40" fmla="*/ 206 w 452"/>
                <a:gd name="T41" fmla="*/ 834 h 841"/>
                <a:gd name="T42" fmla="*/ 185 w 452"/>
                <a:gd name="T43" fmla="*/ 828 h 841"/>
                <a:gd name="T44" fmla="*/ 167 w 452"/>
                <a:gd name="T45" fmla="*/ 820 h 841"/>
                <a:gd name="T46" fmla="*/ 150 w 452"/>
                <a:gd name="T47" fmla="*/ 812 h 841"/>
                <a:gd name="T48" fmla="*/ 136 w 452"/>
                <a:gd name="T49" fmla="*/ 800 h 841"/>
                <a:gd name="T50" fmla="*/ 124 w 452"/>
                <a:gd name="T51" fmla="*/ 788 h 841"/>
                <a:gd name="T52" fmla="*/ 124 w 452"/>
                <a:gd name="T53" fmla="*/ 788 h 841"/>
                <a:gd name="T54" fmla="*/ 113 w 452"/>
                <a:gd name="T55" fmla="*/ 774 h 841"/>
                <a:gd name="T56" fmla="*/ 103 w 452"/>
                <a:gd name="T57" fmla="*/ 757 h 841"/>
                <a:gd name="T58" fmla="*/ 94 w 452"/>
                <a:gd name="T59" fmla="*/ 739 h 841"/>
                <a:gd name="T60" fmla="*/ 87 w 452"/>
                <a:gd name="T61" fmla="*/ 719 h 841"/>
                <a:gd name="T62" fmla="*/ 82 w 452"/>
                <a:gd name="T63" fmla="*/ 698 h 841"/>
                <a:gd name="T64" fmla="*/ 79 w 452"/>
                <a:gd name="T65" fmla="*/ 674 h 841"/>
                <a:gd name="T66" fmla="*/ 76 w 452"/>
                <a:gd name="T67" fmla="*/ 649 h 841"/>
                <a:gd name="T68" fmla="*/ 76 w 452"/>
                <a:gd name="T69" fmla="*/ 622 h 841"/>
                <a:gd name="T70" fmla="*/ 76 w 452"/>
                <a:gd name="T71" fmla="*/ 362 h 841"/>
                <a:gd name="T72" fmla="*/ 0 w 452"/>
                <a:gd name="T73" fmla="*/ 362 h 841"/>
                <a:gd name="T74" fmla="*/ 0 w 452"/>
                <a:gd name="T75" fmla="*/ 198 h 841"/>
                <a:gd name="T76" fmla="*/ 76 w 452"/>
                <a:gd name="T77" fmla="*/ 198 h 841"/>
                <a:gd name="T78" fmla="*/ 76 w 452"/>
                <a:gd name="T79" fmla="*/ 36 h 841"/>
                <a:gd name="T80" fmla="*/ 291 w 452"/>
                <a:gd name="T81" fmla="*/ 0 h 841"/>
                <a:gd name="T82" fmla="*/ 291 w 452"/>
                <a:gd name="T83" fmla="*/ 198 h 841"/>
                <a:gd name="T84" fmla="*/ 426 w 452"/>
                <a:gd name="T85" fmla="*/ 198 h 841"/>
                <a:gd name="T86" fmla="*/ 426 w 452"/>
                <a:gd name="T87" fmla="*/ 362 h 841"/>
                <a:gd name="T88" fmla="*/ 291 w 452"/>
                <a:gd name="T89" fmla="*/ 362 h 841"/>
                <a:gd name="T90" fmla="*/ 291 w 452"/>
                <a:gd name="T91" fmla="*/ 608 h 841"/>
                <a:gd name="T92" fmla="*/ 291 w 452"/>
                <a:gd name="T93" fmla="*/ 608 h 841"/>
                <a:gd name="T94" fmla="*/ 292 w 452"/>
                <a:gd name="T95" fmla="*/ 622 h 841"/>
                <a:gd name="T96" fmla="*/ 293 w 452"/>
                <a:gd name="T97" fmla="*/ 635 h 841"/>
                <a:gd name="T98" fmla="*/ 299 w 452"/>
                <a:gd name="T99" fmla="*/ 645 h 841"/>
                <a:gd name="T100" fmla="*/ 305 w 452"/>
                <a:gd name="T101" fmla="*/ 653 h 841"/>
                <a:gd name="T102" fmla="*/ 313 w 452"/>
                <a:gd name="T103" fmla="*/ 660 h 841"/>
                <a:gd name="T104" fmla="*/ 323 w 452"/>
                <a:gd name="T105" fmla="*/ 666 h 841"/>
                <a:gd name="T106" fmla="*/ 334 w 452"/>
                <a:gd name="T107" fmla="*/ 669 h 841"/>
                <a:gd name="T108" fmla="*/ 348 w 452"/>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841">
                  <a:moveTo>
                    <a:pt x="348" y="669"/>
                  </a:moveTo>
                  <a:lnTo>
                    <a:pt x="348" y="669"/>
                  </a:lnTo>
                  <a:lnTo>
                    <a:pt x="370" y="667"/>
                  </a:lnTo>
                  <a:lnTo>
                    <a:pt x="396" y="664"/>
                  </a:lnTo>
                  <a:lnTo>
                    <a:pt x="422" y="657"/>
                  </a:lnTo>
                  <a:lnTo>
                    <a:pt x="452" y="648"/>
                  </a:lnTo>
                  <a:lnTo>
                    <a:pt x="452" y="806"/>
                  </a:lnTo>
                  <a:lnTo>
                    <a:pt x="452" y="806"/>
                  </a:lnTo>
                  <a:lnTo>
                    <a:pt x="429" y="816"/>
                  </a:lnTo>
                  <a:lnTo>
                    <a:pt x="410" y="823"/>
                  </a:lnTo>
                  <a:lnTo>
                    <a:pt x="389" y="828"/>
                  </a:lnTo>
                  <a:lnTo>
                    <a:pt x="369" y="834"/>
                  </a:lnTo>
                  <a:lnTo>
                    <a:pt x="369" y="834"/>
                  </a:lnTo>
                  <a:lnTo>
                    <a:pt x="349" y="837"/>
                  </a:lnTo>
                  <a:lnTo>
                    <a:pt x="327" y="840"/>
                  </a:lnTo>
                  <a:lnTo>
                    <a:pt x="303" y="841"/>
                  </a:lnTo>
                  <a:lnTo>
                    <a:pt x="278" y="841"/>
                  </a:lnTo>
                  <a:lnTo>
                    <a:pt x="278" y="841"/>
                  </a:lnTo>
                  <a:lnTo>
                    <a:pt x="251" y="841"/>
                  </a:lnTo>
                  <a:lnTo>
                    <a:pt x="227" y="838"/>
                  </a:lnTo>
                  <a:lnTo>
                    <a:pt x="206" y="834"/>
                  </a:lnTo>
                  <a:lnTo>
                    <a:pt x="185" y="828"/>
                  </a:lnTo>
                  <a:lnTo>
                    <a:pt x="167" y="820"/>
                  </a:lnTo>
                  <a:lnTo>
                    <a:pt x="150" y="812"/>
                  </a:lnTo>
                  <a:lnTo>
                    <a:pt x="136" y="800"/>
                  </a:lnTo>
                  <a:lnTo>
                    <a:pt x="124" y="788"/>
                  </a:lnTo>
                  <a:lnTo>
                    <a:pt x="124" y="788"/>
                  </a:lnTo>
                  <a:lnTo>
                    <a:pt x="113" y="774"/>
                  </a:lnTo>
                  <a:lnTo>
                    <a:pt x="103" y="757"/>
                  </a:lnTo>
                  <a:lnTo>
                    <a:pt x="94" y="739"/>
                  </a:lnTo>
                  <a:lnTo>
                    <a:pt x="87" y="719"/>
                  </a:lnTo>
                  <a:lnTo>
                    <a:pt x="82" y="698"/>
                  </a:lnTo>
                  <a:lnTo>
                    <a:pt x="79" y="674"/>
                  </a:lnTo>
                  <a:lnTo>
                    <a:pt x="76" y="649"/>
                  </a:lnTo>
                  <a:lnTo>
                    <a:pt x="76" y="622"/>
                  </a:lnTo>
                  <a:lnTo>
                    <a:pt x="76" y="362"/>
                  </a:lnTo>
                  <a:lnTo>
                    <a:pt x="0" y="362"/>
                  </a:lnTo>
                  <a:lnTo>
                    <a:pt x="0" y="198"/>
                  </a:lnTo>
                  <a:lnTo>
                    <a:pt x="76" y="198"/>
                  </a:lnTo>
                  <a:lnTo>
                    <a:pt x="76" y="36"/>
                  </a:lnTo>
                  <a:lnTo>
                    <a:pt x="291" y="0"/>
                  </a:lnTo>
                  <a:lnTo>
                    <a:pt x="291" y="198"/>
                  </a:lnTo>
                  <a:lnTo>
                    <a:pt x="426" y="198"/>
                  </a:lnTo>
                  <a:lnTo>
                    <a:pt x="426" y="362"/>
                  </a:lnTo>
                  <a:lnTo>
                    <a:pt x="291" y="362"/>
                  </a:lnTo>
                  <a:lnTo>
                    <a:pt x="291" y="608"/>
                  </a:lnTo>
                  <a:lnTo>
                    <a:pt x="291" y="608"/>
                  </a:lnTo>
                  <a:lnTo>
                    <a:pt x="292" y="622"/>
                  </a:lnTo>
                  <a:lnTo>
                    <a:pt x="293" y="635"/>
                  </a:lnTo>
                  <a:lnTo>
                    <a:pt x="299" y="645"/>
                  </a:lnTo>
                  <a:lnTo>
                    <a:pt x="305" y="653"/>
                  </a:lnTo>
                  <a:lnTo>
                    <a:pt x="313" y="660"/>
                  </a:lnTo>
                  <a:lnTo>
                    <a:pt x="323" y="666"/>
                  </a:lnTo>
                  <a:lnTo>
                    <a:pt x="334" y="669"/>
                  </a:lnTo>
                  <a:lnTo>
                    <a:pt x="348" y="6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7">
              <a:extLst>
                <a:ext uri="{FF2B5EF4-FFF2-40B4-BE49-F238E27FC236}">
                  <a16:creationId xmlns:a16="http://schemas.microsoft.com/office/drawing/2014/main" id="{ED304BDE-7658-4623-9D1D-6988AFF0376B}"/>
                </a:ext>
              </a:extLst>
            </p:cNvPr>
            <p:cNvSpPr>
              <a:spLocks/>
            </p:cNvSpPr>
            <p:nvPr/>
          </p:nvSpPr>
          <p:spPr bwMode="auto">
            <a:xfrm>
              <a:off x="4053" y="1638"/>
              <a:ext cx="225" cy="420"/>
            </a:xfrm>
            <a:custGeom>
              <a:avLst/>
              <a:gdLst>
                <a:gd name="T0" fmla="*/ 348 w 452"/>
                <a:gd name="T1" fmla="*/ 669 h 841"/>
                <a:gd name="T2" fmla="*/ 348 w 452"/>
                <a:gd name="T3" fmla="*/ 669 h 841"/>
                <a:gd name="T4" fmla="*/ 370 w 452"/>
                <a:gd name="T5" fmla="*/ 667 h 841"/>
                <a:gd name="T6" fmla="*/ 396 w 452"/>
                <a:gd name="T7" fmla="*/ 664 h 841"/>
                <a:gd name="T8" fmla="*/ 422 w 452"/>
                <a:gd name="T9" fmla="*/ 657 h 841"/>
                <a:gd name="T10" fmla="*/ 452 w 452"/>
                <a:gd name="T11" fmla="*/ 648 h 841"/>
                <a:gd name="T12" fmla="*/ 452 w 452"/>
                <a:gd name="T13" fmla="*/ 806 h 841"/>
                <a:gd name="T14" fmla="*/ 452 w 452"/>
                <a:gd name="T15" fmla="*/ 806 h 841"/>
                <a:gd name="T16" fmla="*/ 429 w 452"/>
                <a:gd name="T17" fmla="*/ 816 h 841"/>
                <a:gd name="T18" fmla="*/ 410 w 452"/>
                <a:gd name="T19" fmla="*/ 823 h 841"/>
                <a:gd name="T20" fmla="*/ 389 w 452"/>
                <a:gd name="T21" fmla="*/ 828 h 841"/>
                <a:gd name="T22" fmla="*/ 369 w 452"/>
                <a:gd name="T23" fmla="*/ 834 h 841"/>
                <a:gd name="T24" fmla="*/ 369 w 452"/>
                <a:gd name="T25" fmla="*/ 834 h 841"/>
                <a:gd name="T26" fmla="*/ 349 w 452"/>
                <a:gd name="T27" fmla="*/ 837 h 841"/>
                <a:gd name="T28" fmla="*/ 327 w 452"/>
                <a:gd name="T29" fmla="*/ 840 h 841"/>
                <a:gd name="T30" fmla="*/ 303 w 452"/>
                <a:gd name="T31" fmla="*/ 841 h 841"/>
                <a:gd name="T32" fmla="*/ 278 w 452"/>
                <a:gd name="T33" fmla="*/ 841 h 841"/>
                <a:gd name="T34" fmla="*/ 278 w 452"/>
                <a:gd name="T35" fmla="*/ 841 h 841"/>
                <a:gd name="T36" fmla="*/ 251 w 452"/>
                <a:gd name="T37" fmla="*/ 841 h 841"/>
                <a:gd name="T38" fmla="*/ 227 w 452"/>
                <a:gd name="T39" fmla="*/ 838 h 841"/>
                <a:gd name="T40" fmla="*/ 206 w 452"/>
                <a:gd name="T41" fmla="*/ 834 h 841"/>
                <a:gd name="T42" fmla="*/ 185 w 452"/>
                <a:gd name="T43" fmla="*/ 828 h 841"/>
                <a:gd name="T44" fmla="*/ 167 w 452"/>
                <a:gd name="T45" fmla="*/ 820 h 841"/>
                <a:gd name="T46" fmla="*/ 150 w 452"/>
                <a:gd name="T47" fmla="*/ 812 h 841"/>
                <a:gd name="T48" fmla="*/ 136 w 452"/>
                <a:gd name="T49" fmla="*/ 800 h 841"/>
                <a:gd name="T50" fmla="*/ 124 w 452"/>
                <a:gd name="T51" fmla="*/ 788 h 841"/>
                <a:gd name="T52" fmla="*/ 124 w 452"/>
                <a:gd name="T53" fmla="*/ 788 h 841"/>
                <a:gd name="T54" fmla="*/ 113 w 452"/>
                <a:gd name="T55" fmla="*/ 774 h 841"/>
                <a:gd name="T56" fmla="*/ 103 w 452"/>
                <a:gd name="T57" fmla="*/ 757 h 841"/>
                <a:gd name="T58" fmla="*/ 94 w 452"/>
                <a:gd name="T59" fmla="*/ 739 h 841"/>
                <a:gd name="T60" fmla="*/ 87 w 452"/>
                <a:gd name="T61" fmla="*/ 719 h 841"/>
                <a:gd name="T62" fmla="*/ 82 w 452"/>
                <a:gd name="T63" fmla="*/ 698 h 841"/>
                <a:gd name="T64" fmla="*/ 79 w 452"/>
                <a:gd name="T65" fmla="*/ 674 h 841"/>
                <a:gd name="T66" fmla="*/ 76 w 452"/>
                <a:gd name="T67" fmla="*/ 649 h 841"/>
                <a:gd name="T68" fmla="*/ 76 w 452"/>
                <a:gd name="T69" fmla="*/ 622 h 841"/>
                <a:gd name="T70" fmla="*/ 76 w 452"/>
                <a:gd name="T71" fmla="*/ 362 h 841"/>
                <a:gd name="T72" fmla="*/ 0 w 452"/>
                <a:gd name="T73" fmla="*/ 362 h 841"/>
                <a:gd name="T74" fmla="*/ 0 w 452"/>
                <a:gd name="T75" fmla="*/ 198 h 841"/>
                <a:gd name="T76" fmla="*/ 76 w 452"/>
                <a:gd name="T77" fmla="*/ 198 h 841"/>
                <a:gd name="T78" fmla="*/ 76 w 452"/>
                <a:gd name="T79" fmla="*/ 36 h 841"/>
                <a:gd name="T80" fmla="*/ 291 w 452"/>
                <a:gd name="T81" fmla="*/ 0 h 841"/>
                <a:gd name="T82" fmla="*/ 291 w 452"/>
                <a:gd name="T83" fmla="*/ 198 h 841"/>
                <a:gd name="T84" fmla="*/ 426 w 452"/>
                <a:gd name="T85" fmla="*/ 198 h 841"/>
                <a:gd name="T86" fmla="*/ 426 w 452"/>
                <a:gd name="T87" fmla="*/ 362 h 841"/>
                <a:gd name="T88" fmla="*/ 291 w 452"/>
                <a:gd name="T89" fmla="*/ 362 h 841"/>
                <a:gd name="T90" fmla="*/ 291 w 452"/>
                <a:gd name="T91" fmla="*/ 608 h 841"/>
                <a:gd name="T92" fmla="*/ 291 w 452"/>
                <a:gd name="T93" fmla="*/ 608 h 841"/>
                <a:gd name="T94" fmla="*/ 292 w 452"/>
                <a:gd name="T95" fmla="*/ 622 h 841"/>
                <a:gd name="T96" fmla="*/ 293 w 452"/>
                <a:gd name="T97" fmla="*/ 635 h 841"/>
                <a:gd name="T98" fmla="*/ 299 w 452"/>
                <a:gd name="T99" fmla="*/ 645 h 841"/>
                <a:gd name="T100" fmla="*/ 305 w 452"/>
                <a:gd name="T101" fmla="*/ 653 h 841"/>
                <a:gd name="T102" fmla="*/ 313 w 452"/>
                <a:gd name="T103" fmla="*/ 660 h 841"/>
                <a:gd name="T104" fmla="*/ 323 w 452"/>
                <a:gd name="T105" fmla="*/ 666 h 841"/>
                <a:gd name="T106" fmla="*/ 334 w 452"/>
                <a:gd name="T107" fmla="*/ 669 h 841"/>
                <a:gd name="T108" fmla="*/ 348 w 452"/>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841">
                  <a:moveTo>
                    <a:pt x="348" y="669"/>
                  </a:moveTo>
                  <a:lnTo>
                    <a:pt x="348" y="669"/>
                  </a:lnTo>
                  <a:lnTo>
                    <a:pt x="370" y="667"/>
                  </a:lnTo>
                  <a:lnTo>
                    <a:pt x="396" y="664"/>
                  </a:lnTo>
                  <a:lnTo>
                    <a:pt x="422" y="657"/>
                  </a:lnTo>
                  <a:lnTo>
                    <a:pt x="452" y="648"/>
                  </a:lnTo>
                  <a:lnTo>
                    <a:pt x="452" y="806"/>
                  </a:lnTo>
                  <a:lnTo>
                    <a:pt x="452" y="806"/>
                  </a:lnTo>
                  <a:lnTo>
                    <a:pt x="429" y="816"/>
                  </a:lnTo>
                  <a:lnTo>
                    <a:pt x="410" y="823"/>
                  </a:lnTo>
                  <a:lnTo>
                    <a:pt x="389" y="828"/>
                  </a:lnTo>
                  <a:lnTo>
                    <a:pt x="369" y="834"/>
                  </a:lnTo>
                  <a:lnTo>
                    <a:pt x="369" y="834"/>
                  </a:lnTo>
                  <a:lnTo>
                    <a:pt x="349" y="837"/>
                  </a:lnTo>
                  <a:lnTo>
                    <a:pt x="327" y="840"/>
                  </a:lnTo>
                  <a:lnTo>
                    <a:pt x="303" y="841"/>
                  </a:lnTo>
                  <a:lnTo>
                    <a:pt x="278" y="841"/>
                  </a:lnTo>
                  <a:lnTo>
                    <a:pt x="278" y="841"/>
                  </a:lnTo>
                  <a:lnTo>
                    <a:pt x="251" y="841"/>
                  </a:lnTo>
                  <a:lnTo>
                    <a:pt x="227" y="838"/>
                  </a:lnTo>
                  <a:lnTo>
                    <a:pt x="206" y="834"/>
                  </a:lnTo>
                  <a:lnTo>
                    <a:pt x="185" y="828"/>
                  </a:lnTo>
                  <a:lnTo>
                    <a:pt x="167" y="820"/>
                  </a:lnTo>
                  <a:lnTo>
                    <a:pt x="150" y="812"/>
                  </a:lnTo>
                  <a:lnTo>
                    <a:pt x="136" y="800"/>
                  </a:lnTo>
                  <a:lnTo>
                    <a:pt x="124" y="788"/>
                  </a:lnTo>
                  <a:lnTo>
                    <a:pt x="124" y="788"/>
                  </a:lnTo>
                  <a:lnTo>
                    <a:pt x="113" y="774"/>
                  </a:lnTo>
                  <a:lnTo>
                    <a:pt x="103" y="757"/>
                  </a:lnTo>
                  <a:lnTo>
                    <a:pt x="94" y="739"/>
                  </a:lnTo>
                  <a:lnTo>
                    <a:pt x="87" y="719"/>
                  </a:lnTo>
                  <a:lnTo>
                    <a:pt x="82" y="698"/>
                  </a:lnTo>
                  <a:lnTo>
                    <a:pt x="79" y="674"/>
                  </a:lnTo>
                  <a:lnTo>
                    <a:pt x="76" y="649"/>
                  </a:lnTo>
                  <a:lnTo>
                    <a:pt x="76" y="622"/>
                  </a:lnTo>
                  <a:lnTo>
                    <a:pt x="76" y="362"/>
                  </a:lnTo>
                  <a:lnTo>
                    <a:pt x="0" y="362"/>
                  </a:lnTo>
                  <a:lnTo>
                    <a:pt x="0" y="198"/>
                  </a:lnTo>
                  <a:lnTo>
                    <a:pt x="76" y="198"/>
                  </a:lnTo>
                  <a:lnTo>
                    <a:pt x="76" y="36"/>
                  </a:lnTo>
                  <a:lnTo>
                    <a:pt x="291" y="0"/>
                  </a:lnTo>
                  <a:lnTo>
                    <a:pt x="291" y="198"/>
                  </a:lnTo>
                  <a:lnTo>
                    <a:pt x="426" y="198"/>
                  </a:lnTo>
                  <a:lnTo>
                    <a:pt x="426" y="362"/>
                  </a:lnTo>
                  <a:lnTo>
                    <a:pt x="291" y="362"/>
                  </a:lnTo>
                  <a:lnTo>
                    <a:pt x="291" y="608"/>
                  </a:lnTo>
                  <a:lnTo>
                    <a:pt x="291" y="608"/>
                  </a:lnTo>
                  <a:lnTo>
                    <a:pt x="292" y="622"/>
                  </a:lnTo>
                  <a:lnTo>
                    <a:pt x="293" y="635"/>
                  </a:lnTo>
                  <a:lnTo>
                    <a:pt x="299" y="645"/>
                  </a:lnTo>
                  <a:lnTo>
                    <a:pt x="305" y="653"/>
                  </a:lnTo>
                  <a:lnTo>
                    <a:pt x="313" y="660"/>
                  </a:lnTo>
                  <a:lnTo>
                    <a:pt x="323" y="666"/>
                  </a:lnTo>
                  <a:lnTo>
                    <a:pt x="334" y="669"/>
                  </a:lnTo>
                  <a:lnTo>
                    <a:pt x="348" y="6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8">
              <a:extLst>
                <a:ext uri="{FF2B5EF4-FFF2-40B4-BE49-F238E27FC236}">
                  <a16:creationId xmlns:a16="http://schemas.microsoft.com/office/drawing/2014/main" id="{AA5D6488-E846-4788-89D7-A9C4CED2A870}"/>
                </a:ext>
              </a:extLst>
            </p:cNvPr>
            <p:cNvSpPr>
              <a:spLocks/>
            </p:cNvSpPr>
            <p:nvPr/>
          </p:nvSpPr>
          <p:spPr bwMode="auto">
            <a:xfrm>
              <a:off x="4299" y="1638"/>
              <a:ext cx="225" cy="420"/>
            </a:xfrm>
            <a:custGeom>
              <a:avLst/>
              <a:gdLst>
                <a:gd name="T0" fmla="*/ 347 w 450"/>
                <a:gd name="T1" fmla="*/ 669 h 841"/>
                <a:gd name="T2" fmla="*/ 347 w 450"/>
                <a:gd name="T3" fmla="*/ 669 h 841"/>
                <a:gd name="T4" fmla="*/ 370 w 450"/>
                <a:gd name="T5" fmla="*/ 667 h 841"/>
                <a:gd name="T6" fmla="*/ 395 w 450"/>
                <a:gd name="T7" fmla="*/ 664 h 841"/>
                <a:gd name="T8" fmla="*/ 422 w 450"/>
                <a:gd name="T9" fmla="*/ 657 h 841"/>
                <a:gd name="T10" fmla="*/ 450 w 450"/>
                <a:gd name="T11" fmla="*/ 648 h 841"/>
                <a:gd name="T12" fmla="*/ 450 w 450"/>
                <a:gd name="T13" fmla="*/ 806 h 841"/>
                <a:gd name="T14" fmla="*/ 450 w 450"/>
                <a:gd name="T15" fmla="*/ 806 h 841"/>
                <a:gd name="T16" fmla="*/ 429 w 450"/>
                <a:gd name="T17" fmla="*/ 816 h 841"/>
                <a:gd name="T18" fmla="*/ 408 w 450"/>
                <a:gd name="T19" fmla="*/ 823 h 841"/>
                <a:gd name="T20" fmla="*/ 388 w 450"/>
                <a:gd name="T21" fmla="*/ 828 h 841"/>
                <a:gd name="T22" fmla="*/ 368 w 450"/>
                <a:gd name="T23" fmla="*/ 834 h 841"/>
                <a:gd name="T24" fmla="*/ 368 w 450"/>
                <a:gd name="T25" fmla="*/ 834 h 841"/>
                <a:gd name="T26" fmla="*/ 347 w 450"/>
                <a:gd name="T27" fmla="*/ 837 h 841"/>
                <a:gd name="T28" fmla="*/ 326 w 450"/>
                <a:gd name="T29" fmla="*/ 840 h 841"/>
                <a:gd name="T30" fmla="*/ 303 w 450"/>
                <a:gd name="T31" fmla="*/ 841 h 841"/>
                <a:gd name="T32" fmla="*/ 277 w 450"/>
                <a:gd name="T33" fmla="*/ 841 h 841"/>
                <a:gd name="T34" fmla="*/ 277 w 450"/>
                <a:gd name="T35" fmla="*/ 841 h 841"/>
                <a:gd name="T36" fmla="*/ 251 w 450"/>
                <a:gd name="T37" fmla="*/ 841 h 841"/>
                <a:gd name="T38" fmla="*/ 227 w 450"/>
                <a:gd name="T39" fmla="*/ 838 h 841"/>
                <a:gd name="T40" fmla="*/ 204 w 450"/>
                <a:gd name="T41" fmla="*/ 834 h 841"/>
                <a:gd name="T42" fmla="*/ 185 w 450"/>
                <a:gd name="T43" fmla="*/ 828 h 841"/>
                <a:gd name="T44" fmla="*/ 167 w 450"/>
                <a:gd name="T45" fmla="*/ 820 h 841"/>
                <a:gd name="T46" fmla="*/ 150 w 450"/>
                <a:gd name="T47" fmla="*/ 812 h 841"/>
                <a:gd name="T48" fmla="*/ 136 w 450"/>
                <a:gd name="T49" fmla="*/ 800 h 841"/>
                <a:gd name="T50" fmla="*/ 122 w 450"/>
                <a:gd name="T51" fmla="*/ 788 h 841"/>
                <a:gd name="T52" fmla="*/ 122 w 450"/>
                <a:gd name="T53" fmla="*/ 788 h 841"/>
                <a:gd name="T54" fmla="*/ 111 w 450"/>
                <a:gd name="T55" fmla="*/ 774 h 841"/>
                <a:gd name="T56" fmla="*/ 102 w 450"/>
                <a:gd name="T57" fmla="*/ 757 h 841"/>
                <a:gd name="T58" fmla="*/ 94 w 450"/>
                <a:gd name="T59" fmla="*/ 739 h 841"/>
                <a:gd name="T60" fmla="*/ 87 w 450"/>
                <a:gd name="T61" fmla="*/ 719 h 841"/>
                <a:gd name="T62" fmla="*/ 81 w 450"/>
                <a:gd name="T63" fmla="*/ 698 h 841"/>
                <a:gd name="T64" fmla="*/ 78 w 450"/>
                <a:gd name="T65" fmla="*/ 674 h 841"/>
                <a:gd name="T66" fmla="*/ 75 w 450"/>
                <a:gd name="T67" fmla="*/ 649 h 841"/>
                <a:gd name="T68" fmla="*/ 75 w 450"/>
                <a:gd name="T69" fmla="*/ 622 h 841"/>
                <a:gd name="T70" fmla="*/ 75 w 450"/>
                <a:gd name="T71" fmla="*/ 362 h 841"/>
                <a:gd name="T72" fmla="*/ 0 w 450"/>
                <a:gd name="T73" fmla="*/ 362 h 841"/>
                <a:gd name="T74" fmla="*/ 0 w 450"/>
                <a:gd name="T75" fmla="*/ 198 h 841"/>
                <a:gd name="T76" fmla="*/ 75 w 450"/>
                <a:gd name="T77" fmla="*/ 198 h 841"/>
                <a:gd name="T78" fmla="*/ 75 w 450"/>
                <a:gd name="T79" fmla="*/ 35 h 841"/>
                <a:gd name="T80" fmla="*/ 290 w 450"/>
                <a:gd name="T81" fmla="*/ 0 h 841"/>
                <a:gd name="T82" fmla="*/ 290 w 450"/>
                <a:gd name="T83" fmla="*/ 198 h 841"/>
                <a:gd name="T84" fmla="*/ 426 w 450"/>
                <a:gd name="T85" fmla="*/ 198 h 841"/>
                <a:gd name="T86" fmla="*/ 426 w 450"/>
                <a:gd name="T87" fmla="*/ 362 h 841"/>
                <a:gd name="T88" fmla="*/ 290 w 450"/>
                <a:gd name="T89" fmla="*/ 362 h 841"/>
                <a:gd name="T90" fmla="*/ 290 w 450"/>
                <a:gd name="T91" fmla="*/ 608 h 841"/>
                <a:gd name="T92" fmla="*/ 290 w 450"/>
                <a:gd name="T93" fmla="*/ 608 h 841"/>
                <a:gd name="T94" fmla="*/ 290 w 450"/>
                <a:gd name="T95" fmla="*/ 622 h 841"/>
                <a:gd name="T96" fmla="*/ 293 w 450"/>
                <a:gd name="T97" fmla="*/ 635 h 841"/>
                <a:gd name="T98" fmla="*/ 298 w 450"/>
                <a:gd name="T99" fmla="*/ 645 h 841"/>
                <a:gd name="T100" fmla="*/ 304 w 450"/>
                <a:gd name="T101" fmla="*/ 653 h 841"/>
                <a:gd name="T102" fmla="*/ 312 w 450"/>
                <a:gd name="T103" fmla="*/ 660 h 841"/>
                <a:gd name="T104" fmla="*/ 322 w 450"/>
                <a:gd name="T105" fmla="*/ 666 h 841"/>
                <a:gd name="T106" fmla="*/ 333 w 450"/>
                <a:gd name="T107" fmla="*/ 669 h 841"/>
                <a:gd name="T108" fmla="*/ 347 w 450"/>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841">
                  <a:moveTo>
                    <a:pt x="347" y="669"/>
                  </a:moveTo>
                  <a:lnTo>
                    <a:pt x="347" y="669"/>
                  </a:lnTo>
                  <a:lnTo>
                    <a:pt x="370" y="667"/>
                  </a:lnTo>
                  <a:lnTo>
                    <a:pt x="395" y="664"/>
                  </a:lnTo>
                  <a:lnTo>
                    <a:pt x="422" y="657"/>
                  </a:lnTo>
                  <a:lnTo>
                    <a:pt x="450" y="648"/>
                  </a:lnTo>
                  <a:lnTo>
                    <a:pt x="450" y="806"/>
                  </a:lnTo>
                  <a:lnTo>
                    <a:pt x="450" y="806"/>
                  </a:lnTo>
                  <a:lnTo>
                    <a:pt x="429" y="816"/>
                  </a:lnTo>
                  <a:lnTo>
                    <a:pt x="408" y="823"/>
                  </a:lnTo>
                  <a:lnTo>
                    <a:pt x="388" y="828"/>
                  </a:lnTo>
                  <a:lnTo>
                    <a:pt x="368" y="834"/>
                  </a:lnTo>
                  <a:lnTo>
                    <a:pt x="368" y="834"/>
                  </a:lnTo>
                  <a:lnTo>
                    <a:pt x="347" y="837"/>
                  </a:lnTo>
                  <a:lnTo>
                    <a:pt x="326" y="840"/>
                  </a:lnTo>
                  <a:lnTo>
                    <a:pt x="303" y="841"/>
                  </a:lnTo>
                  <a:lnTo>
                    <a:pt x="277" y="841"/>
                  </a:lnTo>
                  <a:lnTo>
                    <a:pt x="277" y="841"/>
                  </a:lnTo>
                  <a:lnTo>
                    <a:pt x="251" y="841"/>
                  </a:lnTo>
                  <a:lnTo>
                    <a:pt x="227" y="838"/>
                  </a:lnTo>
                  <a:lnTo>
                    <a:pt x="204" y="834"/>
                  </a:lnTo>
                  <a:lnTo>
                    <a:pt x="185" y="828"/>
                  </a:lnTo>
                  <a:lnTo>
                    <a:pt x="167" y="820"/>
                  </a:lnTo>
                  <a:lnTo>
                    <a:pt x="150" y="812"/>
                  </a:lnTo>
                  <a:lnTo>
                    <a:pt x="136" y="800"/>
                  </a:lnTo>
                  <a:lnTo>
                    <a:pt x="122" y="788"/>
                  </a:lnTo>
                  <a:lnTo>
                    <a:pt x="122" y="788"/>
                  </a:lnTo>
                  <a:lnTo>
                    <a:pt x="111" y="774"/>
                  </a:lnTo>
                  <a:lnTo>
                    <a:pt x="102" y="757"/>
                  </a:lnTo>
                  <a:lnTo>
                    <a:pt x="94" y="739"/>
                  </a:lnTo>
                  <a:lnTo>
                    <a:pt x="87" y="719"/>
                  </a:lnTo>
                  <a:lnTo>
                    <a:pt x="81" y="698"/>
                  </a:lnTo>
                  <a:lnTo>
                    <a:pt x="78" y="674"/>
                  </a:lnTo>
                  <a:lnTo>
                    <a:pt x="75" y="649"/>
                  </a:lnTo>
                  <a:lnTo>
                    <a:pt x="75" y="622"/>
                  </a:lnTo>
                  <a:lnTo>
                    <a:pt x="75" y="362"/>
                  </a:lnTo>
                  <a:lnTo>
                    <a:pt x="0" y="362"/>
                  </a:lnTo>
                  <a:lnTo>
                    <a:pt x="0" y="198"/>
                  </a:lnTo>
                  <a:lnTo>
                    <a:pt x="75" y="198"/>
                  </a:lnTo>
                  <a:lnTo>
                    <a:pt x="75" y="35"/>
                  </a:lnTo>
                  <a:lnTo>
                    <a:pt x="290" y="0"/>
                  </a:lnTo>
                  <a:lnTo>
                    <a:pt x="290" y="198"/>
                  </a:lnTo>
                  <a:lnTo>
                    <a:pt x="426" y="198"/>
                  </a:lnTo>
                  <a:lnTo>
                    <a:pt x="426" y="362"/>
                  </a:lnTo>
                  <a:lnTo>
                    <a:pt x="290" y="362"/>
                  </a:lnTo>
                  <a:lnTo>
                    <a:pt x="290" y="608"/>
                  </a:lnTo>
                  <a:lnTo>
                    <a:pt x="290" y="608"/>
                  </a:lnTo>
                  <a:lnTo>
                    <a:pt x="290" y="622"/>
                  </a:lnTo>
                  <a:lnTo>
                    <a:pt x="293" y="635"/>
                  </a:lnTo>
                  <a:lnTo>
                    <a:pt x="298" y="645"/>
                  </a:lnTo>
                  <a:lnTo>
                    <a:pt x="304" y="653"/>
                  </a:lnTo>
                  <a:lnTo>
                    <a:pt x="312" y="660"/>
                  </a:lnTo>
                  <a:lnTo>
                    <a:pt x="322" y="666"/>
                  </a:lnTo>
                  <a:lnTo>
                    <a:pt x="333" y="669"/>
                  </a:lnTo>
                  <a:lnTo>
                    <a:pt x="347" y="6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9">
              <a:extLst>
                <a:ext uri="{FF2B5EF4-FFF2-40B4-BE49-F238E27FC236}">
                  <a16:creationId xmlns:a16="http://schemas.microsoft.com/office/drawing/2014/main" id="{E25C6C0B-ABBF-43C7-87BB-3536C80A165A}"/>
                </a:ext>
              </a:extLst>
            </p:cNvPr>
            <p:cNvSpPr>
              <a:spLocks/>
            </p:cNvSpPr>
            <p:nvPr/>
          </p:nvSpPr>
          <p:spPr bwMode="auto">
            <a:xfrm>
              <a:off x="4299" y="1638"/>
              <a:ext cx="225" cy="420"/>
            </a:xfrm>
            <a:custGeom>
              <a:avLst/>
              <a:gdLst>
                <a:gd name="T0" fmla="*/ 347 w 450"/>
                <a:gd name="T1" fmla="*/ 669 h 841"/>
                <a:gd name="T2" fmla="*/ 347 w 450"/>
                <a:gd name="T3" fmla="*/ 669 h 841"/>
                <a:gd name="T4" fmla="*/ 370 w 450"/>
                <a:gd name="T5" fmla="*/ 667 h 841"/>
                <a:gd name="T6" fmla="*/ 395 w 450"/>
                <a:gd name="T7" fmla="*/ 664 h 841"/>
                <a:gd name="T8" fmla="*/ 422 w 450"/>
                <a:gd name="T9" fmla="*/ 657 h 841"/>
                <a:gd name="T10" fmla="*/ 450 w 450"/>
                <a:gd name="T11" fmla="*/ 648 h 841"/>
                <a:gd name="T12" fmla="*/ 450 w 450"/>
                <a:gd name="T13" fmla="*/ 806 h 841"/>
                <a:gd name="T14" fmla="*/ 450 w 450"/>
                <a:gd name="T15" fmla="*/ 806 h 841"/>
                <a:gd name="T16" fmla="*/ 429 w 450"/>
                <a:gd name="T17" fmla="*/ 816 h 841"/>
                <a:gd name="T18" fmla="*/ 408 w 450"/>
                <a:gd name="T19" fmla="*/ 823 h 841"/>
                <a:gd name="T20" fmla="*/ 388 w 450"/>
                <a:gd name="T21" fmla="*/ 828 h 841"/>
                <a:gd name="T22" fmla="*/ 368 w 450"/>
                <a:gd name="T23" fmla="*/ 834 h 841"/>
                <a:gd name="T24" fmla="*/ 368 w 450"/>
                <a:gd name="T25" fmla="*/ 834 h 841"/>
                <a:gd name="T26" fmla="*/ 347 w 450"/>
                <a:gd name="T27" fmla="*/ 837 h 841"/>
                <a:gd name="T28" fmla="*/ 326 w 450"/>
                <a:gd name="T29" fmla="*/ 840 h 841"/>
                <a:gd name="T30" fmla="*/ 303 w 450"/>
                <a:gd name="T31" fmla="*/ 841 h 841"/>
                <a:gd name="T32" fmla="*/ 277 w 450"/>
                <a:gd name="T33" fmla="*/ 841 h 841"/>
                <a:gd name="T34" fmla="*/ 277 w 450"/>
                <a:gd name="T35" fmla="*/ 841 h 841"/>
                <a:gd name="T36" fmla="*/ 251 w 450"/>
                <a:gd name="T37" fmla="*/ 841 h 841"/>
                <a:gd name="T38" fmla="*/ 227 w 450"/>
                <a:gd name="T39" fmla="*/ 838 h 841"/>
                <a:gd name="T40" fmla="*/ 204 w 450"/>
                <a:gd name="T41" fmla="*/ 834 h 841"/>
                <a:gd name="T42" fmla="*/ 185 w 450"/>
                <a:gd name="T43" fmla="*/ 828 h 841"/>
                <a:gd name="T44" fmla="*/ 167 w 450"/>
                <a:gd name="T45" fmla="*/ 820 h 841"/>
                <a:gd name="T46" fmla="*/ 150 w 450"/>
                <a:gd name="T47" fmla="*/ 812 h 841"/>
                <a:gd name="T48" fmla="*/ 136 w 450"/>
                <a:gd name="T49" fmla="*/ 800 h 841"/>
                <a:gd name="T50" fmla="*/ 122 w 450"/>
                <a:gd name="T51" fmla="*/ 788 h 841"/>
                <a:gd name="T52" fmla="*/ 122 w 450"/>
                <a:gd name="T53" fmla="*/ 788 h 841"/>
                <a:gd name="T54" fmla="*/ 111 w 450"/>
                <a:gd name="T55" fmla="*/ 774 h 841"/>
                <a:gd name="T56" fmla="*/ 102 w 450"/>
                <a:gd name="T57" fmla="*/ 757 h 841"/>
                <a:gd name="T58" fmla="*/ 94 w 450"/>
                <a:gd name="T59" fmla="*/ 739 h 841"/>
                <a:gd name="T60" fmla="*/ 87 w 450"/>
                <a:gd name="T61" fmla="*/ 719 h 841"/>
                <a:gd name="T62" fmla="*/ 81 w 450"/>
                <a:gd name="T63" fmla="*/ 698 h 841"/>
                <a:gd name="T64" fmla="*/ 78 w 450"/>
                <a:gd name="T65" fmla="*/ 674 h 841"/>
                <a:gd name="T66" fmla="*/ 75 w 450"/>
                <a:gd name="T67" fmla="*/ 649 h 841"/>
                <a:gd name="T68" fmla="*/ 75 w 450"/>
                <a:gd name="T69" fmla="*/ 622 h 841"/>
                <a:gd name="T70" fmla="*/ 75 w 450"/>
                <a:gd name="T71" fmla="*/ 362 h 841"/>
                <a:gd name="T72" fmla="*/ 0 w 450"/>
                <a:gd name="T73" fmla="*/ 362 h 841"/>
                <a:gd name="T74" fmla="*/ 0 w 450"/>
                <a:gd name="T75" fmla="*/ 198 h 841"/>
                <a:gd name="T76" fmla="*/ 75 w 450"/>
                <a:gd name="T77" fmla="*/ 198 h 841"/>
                <a:gd name="T78" fmla="*/ 75 w 450"/>
                <a:gd name="T79" fmla="*/ 35 h 841"/>
                <a:gd name="T80" fmla="*/ 290 w 450"/>
                <a:gd name="T81" fmla="*/ 0 h 841"/>
                <a:gd name="T82" fmla="*/ 290 w 450"/>
                <a:gd name="T83" fmla="*/ 198 h 841"/>
                <a:gd name="T84" fmla="*/ 426 w 450"/>
                <a:gd name="T85" fmla="*/ 198 h 841"/>
                <a:gd name="T86" fmla="*/ 426 w 450"/>
                <a:gd name="T87" fmla="*/ 362 h 841"/>
                <a:gd name="T88" fmla="*/ 290 w 450"/>
                <a:gd name="T89" fmla="*/ 362 h 841"/>
                <a:gd name="T90" fmla="*/ 290 w 450"/>
                <a:gd name="T91" fmla="*/ 608 h 841"/>
                <a:gd name="T92" fmla="*/ 290 w 450"/>
                <a:gd name="T93" fmla="*/ 608 h 841"/>
                <a:gd name="T94" fmla="*/ 290 w 450"/>
                <a:gd name="T95" fmla="*/ 622 h 841"/>
                <a:gd name="T96" fmla="*/ 293 w 450"/>
                <a:gd name="T97" fmla="*/ 635 h 841"/>
                <a:gd name="T98" fmla="*/ 298 w 450"/>
                <a:gd name="T99" fmla="*/ 645 h 841"/>
                <a:gd name="T100" fmla="*/ 304 w 450"/>
                <a:gd name="T101" fmla="*/ 653 h 841"/>
                <a:gd name="T102" fmla="*/ 312 w 450"/>
                <a:gd name="T103" fmla="*/ 660 h 841"/>
                <a:gd name="T104" fmla="*/ 322 w 450"/>
                <a:gd name="T105" fmla="*/ 666 h 841"/>
                <a:gd name="T106" fmla="*/ 333 w 450"/>
                <a:gd name="T107" fmla="*/ 669 h 841"/>
                <a:gd name="T108" fmla="*/ 347 w 450"/>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841">
                  <a:moveTo>
                    <a:pt x="347" y="669"/>
                  </a:moveTo>
                  <a:lnTo>
                    <a:pt x="347" y="669"/>
                  </a:lnTo>
                  <a:lnTo>
                    <a:pt x="370" y="667"/>
                  </a:lnTo>
                  <a:lnTo>
                    <a:pt x="395" y="664"/>
                  </a:lnTo>
                  <a:lnTo>
                    <a:pt x="422" y="657"/>
                  </a:lnTo>
                  <a:lnTo>
                    <a:pt x="450" y="648"/>
                  </a:lnTo>
                  <a:lnTo>
                    <a:pt x="450" y="806"/>
                  </a:lnTo>
                  <a:lnTo>
                    <a:pt x="450" y="806"/>
                  </a:lnTo>
                  <a:lnTo>
                    <a:pt x="429" y="816"/>
                  </a:lnTo>
                  <a:lnTo>
                    <a:pt x="408" y="823"/>
                  </a:lnTo>
                  <a:lnTo>
                    <a:pt x="388" y="828"/>
                  </a:lnTo>
                  <a:lnTo>
                    <a:pt x="368" y="834"/>
                  </a:lnTo>
                  <a:lnTo>
                    <a:pt x="368" y="834"/>
                  </a:lnTo>
                  <a:lnTo>
                    <a:pt x="347" y="837"/>
                  </a:lnTo>
                  <a:lnTo>
                    <a:pt x="326" y="840"/>
                  </a:lnTo>
                  <a:lnTo>
                    <a:pt x="303" y="841"/>
                  </a:lnTo>
                  <a:lnTo>
                    <a:pt x="277" y="841"/>
                  </a:lnTo>
                  <a:lnTo>
                    <a:pt x="277" y="841"/>
                  </a:lnTo>
                  <a:lnTo>
                    <a:pt x="251" y="841"/>
                  </a:lnTo>
                  <a:lnTo>
                    <a:pt x="227" y="838"/>
                  </a:lnTo>
                  <a:lnTo>
                    <a:pt x="204" y="834"/>
                  </a:lnTo>
                  <a:lnTo>
                    <a:pt x="185" y="828"/>
                  </a:lnTo>
                  <a:lnTo>
                    <a:pt x="167" y="820"/>
                  </a:lnTo>
                  <a:lnTo>
                    <a:pt x="150" y="812"/>
                  </a:lnTo>
                  <a:lnTo>
                    <a:pt x="136" y="800"/>
                  </a:lnTo>
                  <a:lnTo>
                    <a:pt x="122" y="788"/>
                  </a:lnTo>
                  <a:lnTo>
                    <a:pt x="122" y="788"/>
                  </a:lnTo>
                  <a:lnTo>
                    <a:pt x="111" y="774"/>
                  </a:lnTo>
                  <a:lnTo>
                    <a:pt x="102" y="757"/>
                  </a:lnTo>
                  <a:lnTo>
                    <a:pt x="94" y="739"/>
                  </a:lnTo>
                  <a:lnTo>
                    <a:pt x="87" y="719"/>
                  </a:lnTo>
                  <a:lnTo>
                    <a:pt x="81" y="698"/>
                  </a:lnTo>
                  <a:lnTo>
                    <a:pt x="78" y="674"/>
                  </a:lnTo>
                  <a:lnTo>
                    <a:pt x="75" y="649"/>
                  </a:lnTo>
                  <a:lnTo>
                    <a:pt x="75" y="622"/>
                  </a:lnTo>
                  <a:lnTo>
                    <a:pt x="75" y="362"/>
                  </a:lnTo>
                  <a:lnTo>
                    <a:pt x="0" y="362"/>
                  </a:lnTo>
                  <a:lnTo>
                    <a:pt x="0" y="198"/>
                  </a:lnTo>
                  <a:lnTo>
                    <a:pt x="75" y="198"/>
                  </a:lnTo>
                  <a:lnTo>
                    <a:pt x="75" y="35"/>
                  </a:lnTo>
                  <a:lnTo>
                    <a:pt x="290" y="0"/>
                  </a:lnTo>
                  <a:lnTo>
                    <a:pt x="290" y="198"/>
                  </a:lnTo>
                  <a:lnTo>
                    <a:pt x="426" y="198"/>
                  </a:lnTo>
                  <a:lnTo>
                    <a:pt x="426" y="362"/>
                  </a:lnTo>
                  <a:lnTo>
                    <a:pt x="290" y="362"/>
                  </a:lnTo>
                  <a:lnTo>
                    <a:pt x="290" y="608"/>
                  </a:lnTo>
                  <a:lnTo>
                    <a:pt x="290" y="608"/>
                  </a:lnTo>
                  <a:lnTo>
                    <a:pt x="290" y="622"/>
                  </a:lnTo>
                  <a:lnTo>
                    <a:pt x="293" y="635"/>
                  </a:lnTo>
                  <a:lnTo>
                    <a:pt x="298" y="645"/>
                  </a:lnTo>
                  <a:lnTo>
                    <a:pt x="304" y="653"/>
                  </a:lnTo>
                  <a:lnTo>
                    <a:pt x="312" y="660"/>
                  </a:lnTo>
                  <a:lnTo>
                    <a:pt x="322" y="666"/>
                  </a:lnTo>
                  <a:lnTo>
                    <a:pt x="333" y="669"/>
                  </a:lnTo>
                  <a:lnTo>
                    <a:pt x="347" y="6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0">
              <a:extLst>
                <a:ext uri="{FF2B5EF4-FFF2-40B4-BE49-F238E27FC236}">
                  <a16:creationId xmlns:a16="http://schemas.microsoft.com/office/drawing/2014/main" id="{1111ADC2-CD81-4D3A-AD3B-282AAECC49EC}"/>
                </a:ext>
              </a:extLst>
            </p:cNvPr>
            <p:cNvSpPr>
              <a:spLocks noEditPoints="1"/>
            </p:cNvSpPr>
            <p:nvPr/>
          </p:nvSpPr>
          <p:spPr bwMode="auto">
            <a:xfrm>
              <a:off x="4550" y="1731"/>
              <a:ext cx="297" cy="327"/>
            </a:xfrm>
            <a:custGeom>
              <a:avLst/>
              <a:gdLst>
                <a:gd name="T0" fmla="*/ 499 w 596"/>
                <a:gd name="T1" fmla="*/ 58 h 655"/>
                <a:gd name="T2" fmla="*/ 428 w 596"/>
                <a:gd name="T3" fmla="*/ 20 h 655"/>
                <a:gd name="T4" fmla="*/ 338 w 596"/>
                <a:gd name="T5" fmla="*/ 2 h 655"/>
                <a:gd name="T6" fmla="*/ 268 w 596"/>
                <a:gd name="T7" fmla="*/ 2 h 655"/>
                <a:gd name="T8" fmla="*/ 174 w 596"/>
                <a:gd name="T9" fmla="*/ 23 h 655"/>
                <a:gd name="T10" fmla="*/ 122 w 596"/>
                <a:gd name="T11" fmla="*/ 50 h 655"/>
                <a:gd name="T12" fmla="*/ 88 w 596"/>
                <a:gd name="T13" fmla="*/ 76 h 655"/>
                <a:gd name="T14" fmla="*/ 69 w 596"/>
                <a:gd name="T15" fmla="*/ 97 h 655"/>
                <a:gd name="T16" fmla="*/ 31 w 596"/>
                <a:gd name="T17" fmla="*/ 162 h 655"/>
                <a:gd name="T18" fmla="*/ 4 w 596"/>
                <a:gd name="T19" fmla="*/ 257 h 655"/>
                <a:gd name="T20" fmla="*/ 0 w 596"/>
                <a:gd name="T21" fmla="*/ 333 h 655"/>
                <a:gd name="T22" fmla="*/ 11 w 596"/>
                <a:gd name="T23" fmla="*/ 439 h 655"/>
                <a:gd name="T24" fmla="*/ 39 w 596"/>
                <a:gd name="T25" fmla="*/ 512 h 655"/>
                <a:gd name="T26" fmla="*/ 65 w 596"/>
                <a:gd name="T27" fmla="*/ 550 h 655"/>
                <a:gd name="T28" fmla="*/ 84 w 596"/>
                <a:gd name="T29" fmla="*/ 572 h 655"/>
                <a:gd name="T30" fmla="*/ 119 w 596"/>
                <a:gd name="T31" fmla="*/ 600 h 655"/>
                <a:gd name="T32" fmla="*/ 188 w 596"/>
                <a:gd name="T33" fmla="*/ 634 h 655"/>
                <a:gd name="T34" fmla="*/ 287 w 596"/>
                <a:gd name="T35" fmla="*/ 654 h 655"/>
                <a:gd name="T36" fmla="*/ 360 w 596"/>
                <a:gd name="T37" fmla="*/ 655 h 655"/>
                <a:gd name="T38" fmla="*/ 451 w 596"/>
                <a:gd name="T39" fmla="*/ 645 h 655"/>
                <a:gd name="T40" fmla="*/ 503 w 596"/>
                <a:gd name="T41" fmla="*/ 631 h 655"/>
                <a:gd name="T42" fmla="*/ 522 w 596"/>
                <a:gd name="T43" fmla="*/ 467 h 655"/>
                <a:gd name="T44" fmla="*/ 453 w 596"/>
                <a:gd name="T45" fmla="*/ 490 h 655"/>
                <a:gd name="T46" fmla="*/ 404 w 596"/>
                <a:gd name="T47" fmla="*/ 498 h 655"/>
                <a:gd name="T48" fmla="*/ 351 w 596"/>
                <a:gd name="T49" fmla="*/ 501 h 655"/>
                <a:gd name="T50" fmla="*/ 307 w 596"/>
                <a:gd name="T51" fmla="*/ 497 h 655"/>
                <a:gd name="T52" fmla="*/ 272 w 596"/>
                <a:gd name="T53" fmla="*/ 484 h 655"/>
                <a:gd name="T54" fmla="*/ 252 w 596"/>
                <a:gd name="T55" fmla="*/ 470 h 655"/>
                <a:gd name="T56" fmla="*/ 230 w 596"/>
                <a:gd name="T57" fmla="*/ 445 h 655"/>
                <a:gd name="T58" fmla="*/ 217 w 596"/>
                <a:gd name="T59" fmla="*/ 413 h 655"/>
                <a:gd name="T60" fmla="*/ 596 w 596"/>
                <a:gd name="T61" fmla="*/ 387 h 655"/>
                <a:gd name="T62" fmla="*/ 594 w 596"/>
                <a:gd name="T63" fmla="*/ 256 h 655"/>
                <a:gd name="T64" fmla="*/ 576 w 596"/>
                <a:gd name="T65" fmla="*/ 166 h 655"/>
                <a:gd name="T66" fmla="*/ 537 w 596"/>
                <a:gd name="T67" fmla="*/ 96 h 655"/>
                <a:gd name="T68" fmla="*/ 219 w 596"/>
                <a:gd name="T69" fmla="*/ 250 h 655"/>
                <a:gd name="T70" fmla="*/ 229 w 596"/>
                <a:gd name="T71" fmla="*/ 205 h 655"/>
                <a:gd name="T72" fmla="*/ 243 w 596"/>
                <a:gd name="T73" fmla="*/ 180 h 655"/>
                <a:gd name="T74" fmla="*/ 262 w 596"/>
                <a:gd name="T75" fmla="*/ 163 h 655"/>
                <a:gd name="T76" fmla="*/ 293 w 596"/>
                <a:gd name="T77" fmla="*/ 150 h 655"/>
                <a:gd name="T78" fmla="*/ 321 w 596"/>
                <a:gd name="T79" fmla="*/ 150 h 655"/>
                <a:gd name="T80" fmla="*/ 349 w 596"/>
                <a:gd name="T81" fmla="*/ 156 h 655"/>
                <a:gd name="T82" fmla="*/ 370 w 596"/>
                <a:gd name="T83" fmla="*/ 170 h 655"/>
                <a:gd name="T84" fmla="*/ 383 w 596"/>
                <a:gd name="T85" fmla="*/ 184 h 655"/>
                <a:gd name="T86" fmla="*/ 395 w 596"/>
                <a:gd name="T87" fmla="*/ 209 h 655"/>
                <a:gd name="T88" fmla="*/ 402 w 596"/>
                <a:gd name="T89" fmla="*/ 25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6" h="655">
                  <a:moveTo>
                    <a:pt x="520" y="76"/>
                  </a:moveTo>
                  <a:lnTo>
                    <a:pt x="520" y="76"/>
                  </a:lnTo>
                  <a:lnTo>
                    <a:pt x="499" y="58"/>
                  </a:lnTo>
                  <a:lnTo>
                    <a:pt x="478" y="43"/>
                  </a:lnTo>
                  <a:lnTo>
                    <a:pt x="454" y="30"/>
                  </a:lnTo>
                  <a:lnTo>
                    <a:pt x="428" y="20"/>
                  </a:lnTo>
                  <a:lnTo>
                    <a:pt x="400" y="12"/>
                  </a:lnTo>
                  <a:lnTo>
                    <a:pt x="370" y="6"/>
                  </a:lnTo>
                  <a:lnTo>
                    <a:pt x="338" y="2"/>
                  </a:lnTo>
                  <a:lnTo>
                    <a:pt x="304" y="0"/>
                  </a:lnTo>
                  <a:lnTo>
                    <a:pt x="304" y="0"/>
                  </a:lnTo>
                  <a:lnTo>
                    <a:pt x="268" y="2"/>
                  </a:lnTo>
                  <a:lnTo>
                    <a:pt x="236" y="6"/>
                  </a:lnTo>
                  <a:lnTo>
                    <a:pt x="203" y="13"/>
                  </a:lnTo>
                  <a:lnTo>
                    <a:pt x="174" y="23"/>
                  </a:lnTo>
                  <a:lnTo>
                    <a:pt x="147" y="34"/>
                  </a:lnTo>
                  <a:lnTo>
                    <a:pt x="135" y="41"/>
                  </a:lnTo>
                  <a:lnTo>
                    <a:pt x="122" y="50"/>
                  </a:lnTo>
                  <a:lnTo>
                    <a:pt x="111" y="58"/>
                  </a:lnTo>
                  <a:lnTo>
                    <a:pt x="100" y="66"/>
                  </a:lnTo>
                  <a:lnTo>
                    <a:pt x="88" y="76"/>
                  </a:lnTo>
                  <a:lnTo>
                    <a:pt x="79" y="87"/>
                  </a:lnTo>
                  <a:lnTo>
                    <a:pt x="79" y="87"/>
                  </a:lnTo>
                  <a:lnTo>
                    <a:pt x="69" y="97"/>
                  </a:lnTo>
                  <a:lnTo>
                    <a:pt x="60" y="110"/>
                  </a:lnTo>
                  <a:lnTo>
                    <a:pt x="44" y="134"/>
                  </a:lnTo>
                  <a:lnTo>
                    <a:pt x="31" y="162"/>
                  </a:lnTo>
                  <a:lnTo>
                    <a:pt x="20" y="191"/>
                  </a:lnTo>
                  <a:lnTo>
                    <a:pt x="10" y="223"/>
                  </a:lnTo>
                  <a:lnTo>
                    <a:pt x="4" y="257"/>
                  </a:lnTo>
                  <a:lnTo>
                    <a:pt x="0" y="293"/>
                  </a:lnTo>
                  <a:lnTo>
                    <a:pt x="0" y="333"/>
                  </a:lnTo>
                  <a:lnTo>
                    <a:pt x="0" y="333"/>
                  </a:lnTo>
                  <a:lnTo>
                    <a:pt x="2" y="371"/>
                  </a:lnTo>
                  <a:lnTo>
                    <a:pt x="4" y="406"/>
                  </a:lnTo>
                  <a:lnTo>
                    <a:pt x="11" y="439"/>
                  </a:lnTo>
                  <a:lnTo>
                    <a:pt x="21" y="470"/>
                  </a:lnTo>
                  <a:lnTo>
                    <a:pt x="32" y="498"/>
                  </a:lnTo>
                  <a:lnTo>
                    <a:pt x="39" y="512"/>
                  </a:lnTo>
                  <a:lnTo>
                    <a:pt x="48" y="525"/>
                  </a:lnTo>
                  <a:lnTo>
                    <a:pt x="56" y="537"/>
                  </a:lnTo>
                  <a:lnTo>
                    <a:pt x="65" y="550"/>
                  </a:lnTo>
                  <a:lnTo>
                    <a:pt x="74" y="561"/>
                  </a:lnTo>
                  <a:lnTo>
                    <a:pt x="84" y="572"/>
                  </a:lnTo>
                  <a:lnTo>
                    <a:pt x="84" y="572"/>
                  </a:lnTo>
                  <a:lnTo>
                    <a:pt x="95" y="582"/>
                  </a:lnTo>
                  <a:lnTo>
                    <a:pt x="107" y="592"/>
                  </a:lnTo>
                  <a:lnTo>
                    <a:pt x="119" y="600"/>
                  </a:lnTo>
                  <a:lnTo>
                    <a:pt x="132" y="609"/>
                  </a:lnTo>
                  <a:lnTo>
                    <a:pt x="159" y="623"/>
                  </a:lnTo>
                  <a:lnTo>
                    <a:pt x="188" y="634"/>
                  </a:lnTo>
                  <a:lnTo>
                    <a:pt x="219" y="644"/>
                  </a:lnTo>
                  <a:lnTo>
                    <a:pt x="251" y="651"/>
                  </a:lnTo>
                  <a:lnTo>
                    <a:pt x="287" y="654"/>
                  </a:lnTo>
                  <a:lnTo>
                    <a:pt x="324" y="655"/>
                  </a:lnTo>
                  <a:lnTo>
                    <a:pt x="324" y="655"/>
                  </a:lnTo>
                  <a:lnTo>
                    <a:pt x="360" y="655"/>
                  </a:lnTo>
                  <a:lnTo>
                    <a:pt x="393" y="654"/>
                  </a:lnTo>
                  <a:lnTo>
                    <a:pt x="423" y="649"/>
                  </a:lnTo>
                  <a:lnTo>
                    <a:pt x="451" y="645"/>
                  </a:lnTo>
                  <a:lnTo>
                    <a:pt x="451" y="645"/>
                  </a:lnTo>
                  <a:lnTo>
                    <a:pt x="478" y="640"/>
                  </a:lnTo>
                  <a:lnTo>
                    <a:pt x="503" y="631"/>
                  </a:lnTo>
                  <a:lnTo>
                    <a:pt x="530" y="621"/>
                  </a:lnTo>
                  <a:lnTo>
                    <a:pt x="555" y="610"/>
                  </a:lnTo>
                  <a:lnTo>
                    <a:pt x="522" y="467"/>
                  </a:lnTo>
                  <a:lnTo>
                    <a:pt x="522"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2" y="470"/>
                  </a:lnTo>
                  <a:lnTo>
                    <a:pt x="252" y="470"/>
                  </a:lnTo>
                  <a:lnTo>
                    <a:pt x="244" y="463"/>
                  </a:lnTo>
                  <a:lnTo>
                    <a:pt x="237" y="455"/>
                  </a:lnTo>
                  <a:lnTo>
                    <a:pt x="230" y="445"/>
                  </a:lnTo>
                  <a:lnTo>
                    <a:pt x="226" y="435"/>
                  </a:lnTo>
                  <a:lnTo>
                    <a:pt x="222" y="424"/>
                  </a:lnTo>
                  <a:lnTo>
                    <a:pt x="217" y="413"/>
                  </a:lnTo>
                  <a:lnTo>
                    <a:pt x="216" y="400"/>
                  </a:lnTo>
                  <a:lnTo>
                    <a:pt x="215" y="387"/>
                  </a:lnTo>
                  <a:lnTo>
                    <a:pt x="596" y="387"/>
                  </a:lnTo>
                  <a:lnTo>
                    <a:pt x="596" y="291"/>
                  </a:lnTo>
                  <a:lnTo>
                    <a:pt x="596" y="291"/>
                  </a:lnTo>
                  <a:lnTo>
                    <a:pt x="594" y="256"/>
                  </a:lnTo>
                  <a:lnTo>
                    <a:pt x="590" y="225"/>
                  </a:lnTo>
                  <a:lnTo>
                    <a:pt x="585" y="194"/>
                  </a:lnTo>
                  <a:lnTo>
                    <a:pt x="576" y="166"/>
                  </a:lnTo>
                  <a:lnTo>
                    <a:pt x="566" y="141"/>
                  </a:lnTo>
                  <a:lnTo>
                    <a:pt x="552" y="117"/>
                  </a:lnTo>
                  <a:lnTo>
                    <a:pt x="537" y="96"/>
                  </a:lnTo>
                  <a:lnTo>
                    <a:pt x="520" y="76"/>
                  </a:lnTo>
                  <a:close/>
                  <a:moveTo>
                    <a:pt x="219" y="250"/>
                  </a:moveTo>
                  <a:lnTo>
                    <a:pt x="219" y="250"/>
                  </a:lnTo>
                  <a:lnTo>
                    <a:pt x="223" y="226"/>
                  </a:lnTo>
                  <a:lnTo>
                    <a:pt x="226" y="215"/>
                  </a:lnTo>
                  <a:lnTo>
                    <a:pt x="229" y="205"/>
                  </a:lnTo>
                  <a:lnTo>
                    <a:pt x="233" y="195"/>
                  </a:lnTo>
                  <a:lnTo>
                    <a:pt x="237" y="188"/>
                  </a:lnTo>
                  <a:lnTo>
                    <a:pt x="243" y="180"/>
                  </a:lnTo>
                  <a:lnTo>
                    <a:pt x="248" y="174"/>
                  </a:lnTo>
                  <a:lnTo>
                    <a:pt x="248" y="174"/>
                  </a:lnTo>
                  <a:lnTo>
                    <a:pt x="262" y="163"/>
                  </a:lnTo>
                  <a:lnTo>
                    <a:pt x="269" y="159"/>
                  </a:lnTo>
                  <a:lnTo>
                    <a:pt x="278" y="156"/>
                  </a:lnTo>
                  <a:lnTo>
                    <a:pt x="293" y="150"/>
                  </a:lnTo>
                  <a:lnTo>
                    <a:pt x="311" y="149"/>
                  </a:lnTo>
                  <a:lnTo>
                    <a:pt x="311" y="149"/>
                  </a:lnTo>
                  <a:lnTo>
                    <a:pt x="321" y="150"/>
                  </a:lnTo>
                  <a:lnTo>
                    <a:pt x="331" y="152"/>
                  </a:lnTo>
                  <a:lnTo>
                    <a:pt x="341" y="153"/>
                  </a:lnTo>
                  <a:lnTo>
                    <a:pt x="349" y="156"/>
                  </a:lnTo>
                  <a:lnTo>
                    <a:pt x="356" y="160"/>
                  </a:lnTo>
                  <a:lnTo>
                    <a:pt x="363" y="164"/>
                  </a:lnTo>
                  <a:lnTo>
                    <a:pt x="370" y="170"/>
                  </a:lnTo>
                  <a:lnTo>
                    <a:pt x="377" y="177"/>
                  </a:lnTo>
                  <a:lnTo>
                    <a:pt x="377" y="177"/>
                  </a:lnTo>
                  <a:lnTo>
                    <a:pt x="383" y="184"/>
                  </a:lnTo>
                  <a:lnTo>
                    <a:pt x="387" y="191"/>
                  </a:lnTo>
                  <a:lnTo>
                    <a:pt x="391" y="199"/>
                  </a:lnTo>
                  <a:lnTo>
                    <a:pt x="395" y="209"/>
                  </a:lnTo>
                  <a:lnTo>
                    <a:pt x="398" y="218"/>
                  </a:lnTo>
                  <a:lnTo>
                    <a:pt x="400" y="229"/>
                  </a:lnTo>
                  <a:lnTo>
                    <a:pt x="402" y="250"/>
                  </a:lnTo>
                  <a:lnTo>
                    <a:pt x="219" y="2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1">
              <a:extLst>
                <a:ext uri="{FF2B5EF4-FFF2-40B4-BE49-F238E27FC236}">
                  <a16:creationId xmlns:a16="http://schemas.microsoft.com/office/drawing/2014/main" id="{90DB068F-EFCD-4109-A1F1-7DA038173949}"/>
                </a:ext>
              </a:extLst>
            </p:cNvPr>
            <p:cNvSpPr>
              <a:spLocks/>
            </p:cNvSpPr>
            <p:nvPr/>
          </p:nvSpPr>
          <p:spPr bwMode="auto">
            <a:xfrm>
              <a:off x="4550" y="1731"/>
              <a:ext cx="297" cy="327"/>
            </a:xfrm>
            <a:custGeom>
              <a:avLst/>
              <a:gdLst>
                <a:gd name="T0" fmla="*/ 520 w 596"/>
                <a:gd name="T1" fmla="*/ 76 h 655"/>
                <a:gd name="T2" fmla="*/ 478 w 596"/>
                <a:gd name="T3" fmla="*/ 43 h 655"/>
                <a:gd name="T4" fmla="*/ 428 w 596"/>
                <a:gd name="T5" fmla="*/ 20 h 655"/>
                <a:gd name="T6" fmla="*/ 370 w 596"/>
                <a:gd name="T7" fmla="*/ 6 h 655"/>
                <a:gd name="T8" fmla="*/ 304 w 596"/>
                <a:gd name="T9" fmla="*/ 0 h 655"/>
                <a:gd name="T10" fmla="*/ 268 w 596"/>
                <a:gd name="T11" fmla="*/ 2 h 655"/>
                <a:gd name="T12" fmla="*/ 203 w 596"/>
                <a:gd name="T13" fmla="*/ 13 h 655"/>
                <a:gd name="T14" fmla="*/ 147 w 596"/>
                <a:gd name="T15" fmla="*/ 34 h 655"/>
                <a:gd name="T16" fmla="*/ 122 w 596"/>
                <a:gd name="T17" fmla="*/ 50 h 655"/>
                <a:gd name="T18" fmla="*/ 100 w 596"/>
                <a:gd name="T19" fmla="*/ 66 h 655"/>
                <a:gd name="T20" fmla="*/ 79 w 596"/>
                <a:gd name="T21" fmla="*/ 87 h 655"/>
                <a:gd name="T22" fmla="*/ 69 w 596"/>
                <a:gd name="T23" fmla="*/ 97 h 655"/>
                <a:gd name="T24" fmla="*/ 44 w 596"/>
                <a:gd name="T25" fmla="*/ 134 h 655"/>
                <a:gd name="T26" fmla="*/ 20 w 596"/>
                <a:gd name="T27" fmla="*/ 191 h 655"/>
                <a:gd name="T28" fmla="*/ 4 w 596"/>
                <a:gd name="T29" fmla="*/ 257 h 655"/>
                <a:gd name="T30" fmla="*/ 0 w 596"/>
                <a:gd name="T31" fmla="*/ 333 h 655"/>
                <a:gd name="T32" fmla="*/ 2 w 596"/>
                <a:gd name="T33" fmla="*/ 371 h 655"/>
                <a:gd name="T34" fmla="*/ 11 w 596"/>
                <a:gd name="T35" fmla="*/ 439 h 655"/>
                <a:gd name="T36" fmla="*/ 32 w 596"/>
                <a:gd name="T37" fmla="*/ 498 h 655"/>
                <a:gd name="T38" fmla="*/ 48 w 596"/>
                <a:gd name="T39" fmla="*/ 525 h 655"/>
                <a:gd name="T40" fmla="*/ 65 w 596"/>
                <a:gd name="T41" fmla="*/ 550 h 655"/>
                <a:gd name="T42" fmla="*/ 84 w 596"/>
                <a:gd name="T43" fmla="*/ 572 h 655"/>
                <a:gd name="T44" fmla="*/ 95 w 596"/>
                <a:gd name="T45" fmla="*/ 582 h 655"/>
                <a:gd name="T46" fmla="*/ 119 w 596"/>
                <a:gd name="T47" fmla="*/ 600 h 655"/>
                <a:gd name="T48" fmla="*/ 159 w 596"/>
                <a:gd name="T49" fmla="*/ 623 h 655"/>
                <a:gd name="T50" fmla="*/ 219 w 596"/>
                <a:gd name="T51" fmla="*/ 644 h 655"/>
                <a:gd name="T52" fmla="*/ 287 w 596"/>
                <a:gd name="T53" fmla="*/ 654 h 655"/>
                <a:gd name="T54" fmla="*/ 324 w 596"/>
                <a:gd name="T55" fmla="*/ 655 h 655"/>
                <a:gd name="T56" fmla="*/ 393 w 596"/>
                <a:gd name="T57" fmla="*/ 654 h 655"/>
                <a:gd name="T58" fmla="*/ 451 w 596"/>
                <a:gd name="T59" fmla="*/ 645 h 655"/>
                <a:gd name="T60" fmla="*/ 478 w 596"/>
                <a:gd name="T61" fmla="*/ 640 h 655"/>
                <a:gd name="T62" fmla="*/ 530 w 596"/>
                <a:gd name="T63" fmla="*/ 621 h 655"/>
                <a:gd name="T64" fmla="*/ 522 w 596"/>
                <a:gd name="T65" fmla="*/ 467 h 655"/>
                <a:gd name="T66" fmla="*/ 487 w 596"/>
                <a:gd name="T67" fmla="*/ 480 h 655"/>
                <a:gd name="T68" fmla="*/ 453 w 596"/>
                <a:gd name="T69" fmla="*/ 490 h 655"/>
                <a:gd name="T70" fmla="*/ 404 w 596"/>
                <a:gd name="T71" fmla="*/ 498 h 655"/>
                <a:gd name="T72" fmla="*/ 351 w 596"/>
                <a:gd name="T73" fmla="*/ 501 h 655"/>
                <a:gd name="T74" fmla="*/ 335 w 596"/>
                <a:gd name="T75" fmla="*/ 499 h 655"/>
                <a:gd name="T76" fmla="*/ 307 w 596"/>
                <a:gd name="T77" fmla="*/ 497 h 655"/>
                <a:gd name="T78" fmla="*/ 283 w 596"/>
                <a:gd name="T79" fmla="*/ 488 h 655"/>
                <a:gd name="T80" fmla="*/ 262 w 596"/>
                <a:gd name="T81" fmla="*/ 477 h 655"/>
                <a:gd name="T82" fmla="*/ 252 w 596"/>
                <a:gd name="T83" fmla="*/ 470 h 655"/>
                <a:gd name="T84" fmla="*/ 237 w 596"/>
                <a:gd name="T85" fmla="*/ 455 h 655"/>
                <a:gd name="T86" fmla="*/ 226 w 596"/>
                <a:gd name="T87" fmla="*/ 435 h 655"/>
                <a:gd name="T88" fmla="*/ 217 w 596"/>
                <a:gd name="T89" fmla="*/ 413 h 655"/>
                <a:gd name="T90" fmla="*/ 215 w 596"/>
                <a:gd name="T91" fmla="*/ 387 h 655"/>
                <a:gd name="T92" fmla="*/ 596 w 596"/>
                <a:gd name="T93" fmla="*/ 291 h 655"/>
                <a:gd name="T94" fmla="*/ 594 w 596"/>
                <a:gd name="T95" fmla="*/ 256 h 655"/>
                <a:gd name="T96" fmla="*/ 585 w 596"/>
                <a:gd name="T97" fmla="*/ 194 h 655"/>
                <a:gd name="T98" fmla="*/ 566 w 596"/>
                <a:gd name="T99" fmla="*/ 141 h 655"/>
                <a:gd name="T100" fmla="*/ 537 w 596"/>
                <a:gd name="T101" fmla="*/ 9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655">
                  <a:moveTo>
                    <a:pt x="520" y="76"/>
                  </a:moveTo>
                  <a:lnTo>
                    <a:pt x="520" y="76"/>
                  </a:lnTo>
                  <a:lnTo>
                    <a:pt x="499" y="58"/>
                  </a:lnTo>
                  <a:lnTo>
                    <a:pt x="478" y="43"/>
                  </a:lnTo>
                  <a:lnTo>
                    <a:pt x="454" y="30"/>
                  </a:lnTo>
                  <a:lnTo>
                    <a:pt x="428" y="20"/>
                  </a:lnTo>
                  <a:lnTo>
                    <a:pt x="400" y="12"/>
                  </a:lnTo>
                  <a:lnTo>
                    <a:pt x="370" y="6"/>
                  </a:lnTo>
                  <a:lnTo>
                    <a:pt x="338" y="2"/>
                  </a:lnTo>
                  <a:lnTo>
                    <a:pt x="304" y="0"/>
                  </a:lnTo>
                  <a:lnTo>
                    <a:pt x="304" y="0"/>
                  </a:lnTo>
                  <a:lnTo>
                    <a:pt x="268" y="2"/>
                  </a:lnTo>
                  <a:lnTo>
                    <a:pt x="236" y="6"/>
                  </a:lnTo>
                  <a:lnTo>
                    <a:pt x="203" y="13"/>
                  </a:lnTo>
                  <a:lnTo>
                    <a:pt x="174" y="23"/>
                  </a:lnTo>
                  <a:lnTo>
                    <a:pt x="147" y="34"/>
                  </a:lnTo>
                  <a:lnTo>
                    <a:pt x="135" y="41"/>
                  </a:lnTo>
                  <a:lnTo>
                    <a:pt x="122" y="50"/>
                  </a:lnTo>
                  <a:lnTo>
                    <a:pt x="111" y="58"/>
                  </a:lnTo>
                  <a:lnTo>
                    <a:pt x="100" y="66"/>
                  </a:lnTo>
                  <a:lnTo>
                    <a:pt x="88" y="76"/>
                  </a:lnTo>
                  <a:lnTo>
                    <a:pt x="79" y="87"/>
                  </a:lnTo>
                  <a:lnTo>
                    <a:pt x="79" y="87"/>
                  </a:lnTo>
                  <a:lnTo>
                    <a:pt x="69" y="97"/>
                  </a:lnTo>
                  <a:lnTo>
                    <a:pt x="60" y="110"/>
                  </a:lnTo>
                  <a:lnTo>
                    <a:pt x="44" y="134"/>
                  </a:lnTo>
                  <a:lnTo>
                    <a:pt x="31" y="162"/>
                  </a:lnTo>
                  <a:lnTo>
                    <a:pt x="20" y="191"/>
                  </a:lnTo>
                  <a:lnTo>
                    <a:pt x="10" y="223"/>
                  </a:lnTo>
                  <a:lnTo>
                    <a:pt x="4" y="257"/>
                  </a:lnTo>
                  <a:lnTo>
                    <a:pt x="0" y="293"/>
                  </a:lnTo>
                  <a:lnTo>
                    <a:pt x="0" y="333"/>
                  </a:lnTo>
                  <a:lnTo>
                    <a:pt x="0" y="333"/>
                  </a:lnTo>
                  <a:lnTo>
                    <a:pt x="2" y="371"/>
                  </a:lnTo>
                  <a:lnTo>
                    <a:pt x="4" y="406"/>
                  </a:lnTo>
                  <a:lnTo>
                    <a:pt x="11" y="439"/>
                  </a:lnTo>
                  <a:lnTo>
                    <a:pt x="21" y="470"/>
                  </a:lnTo>
                  <a:lnTo>
                    <a:pt x="32" y="498"/>
                  </a:lnTo>
                  <a:lnTo>
                    <a:pt x="39" y="512"/>
                  </a:lnTo>
                  <a:lnTo>
                    <a:pt x="48" y="525"/>
                  </a:lnTo>
                  <a:lnTo>
                    <a:pt x="56" y="537"/>
                  </a:lnTo>
                  <a:lnTo>
                    <a:pt x="65" y="550"/>
                  </a:lnTo>
                  <a:lnTo>
                    <a:pt x="74" y="561"/>
                  </a:lnTo>
                  <a:lnTo>
                    <a:pt x="84" y="572"/>
                  </a:lnTo>
                  <a:lnTo>
                    <a:pt x="84" y="572"/>
                  </a:lnTo>
                  <a:lnTo>
                    <a:pt x="95" y="582"/>
                  </a:lnTo>
                  <a:lnTo>
                    <a:pt x="107" y="592"/>
                  </a:lnTo>
                  <a:lnTo>
                    <a:pt x="119" y="600"/>
                  </a:lnTo>
                  <a:lnTo>
                    <a:pt x="132" y="609"/>
                  </a:lnTo>
                  <a:lnTo>
                    <a:pt x="159" y="623"/>
                  </a:lnTo>
                  <a:lnTo>
                    <a:pt x="188" y="634"/>
                  </a:lnTo>
                  <a:lnTo>
                    <a:pt x="219" y="644"/>
                  </a:lnTo>
                  <a:lnTo>
                    <a:pt x="251" y="651"/>
                  </a:lnTo>
                  <a:lnTo>
                    <a:pt x="287" y="654"/>
                  </a:lnTo>
                  <a:lnTo>
                    <a:pt x="324" y="655"/>
                  </a:lnTo>
                  <a:lnTo>
                    <a:pt x="324" y="655"/>
                  </a:lnTo>
                  <a:lnTo>
                    <a:pt x="360" y="655"/>
                  </a:lnTo>
                  <a:lnTo>
                    <a:pt x="393" y="654"/>
                  </a:lnTo>
                  <a:lnTo>
                    <a:pt x="423" y="649"/>
                  </a:lnTo>
                  <a:lnTo>
                    <a:pt x="451" y="645"/>
                  </a:lnTo>
                  <a:lnTo>
                    <a:pt x="451" y="645"/>
                  </a:lnTo>
                  <a:lnTo>
                    <a:pt x="478" y="640"/>
                  </a:lnTo>
                  <a:lnTo>
                    <a:pt x="503" y="631"/>
                  </a:lnTo>
                  <a:lnTo>
                    <a:pt x="530" y="621"/>
                  </a:lnTo>
                  <a:lnTo>
                    <a:pt x="555" y="610"/>
                  </a:lnTo>
                  <a:lnTo>
                    <a:pt x="522" y="467"/>
                  </a:lnTo>
                  <a:lnTo>
                    <a:pt x="522"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2" y="470"/>
                  </a:lnTo>
                  <a:lnTo>
                    <a:pt x="252" y="470"/>
                  </a:lnTo>
                  <a:lnTo>
                    <a:pt x="244" y="463"/>
                  </a:lnTo>
                  <a:lnTo>
                    <a:pt x="237" y="455"/>
                  </a:lnTo>
                  <a:lnTo>
                    <a:pt x="230" y="445"/>
                  </a:lnTo>
                  <a:lnTo>
                    <a:pt x="226" y="435"/>
                  </a:lnTo>
                  <a:lnTo>
                    <a:pt x="222" y="424"/>
                  </a:lnTo>
                  <a:lnTo>
                    <a:pt x="217" y="413"/>
                  </a:lnTo>
                  <a:lnTo>
                    <a:pt x="216" y="400"/>
                  </a:lnTo>
                  <a:lnTo>
                    <a:pt x="215" y="387"/>
                  </a:lnTo>
                  <a:lnTo>
                    <a:pt x="596" y="387"/>
                  </a:lnTo>
                  <a:lnTo>
                    <a:pt x="596" y="291"/>
                  </a:lnTo>
                  <a:lnTo>
                    <a:pt x="596" y="291"/>
                  </a:lnTo>
                  <a:lnTo>
                    <a:pt x="594" y="256"/>
                  </a:lnTo>
                  <a:lnTo>
                    <a:pt x="590" y="225"/>
                  </a:lnTo>
                  <a:lnTo>
                    <a:pt x="585" y="194"/>
                  </a:lnTo>
                  <a:lnTo>
                    <a:pt x="576" y="166"/>
                  </a:lnTo>
                  <a:lnTo>
                    <a:pt x="566" y="141"/>
                  </a:lnTo>
                  <a:lnTo>
                    <a:pt x="552" y="117"/>
                  </a:lnTo>
                  <a:lnTo>
                    <a:pt x="537" y="96"/>
                  </a:lnTo>
                  <a:lnTo>
                    <a:pt x="520" y="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2">
              <a:extLst>
                <a:ext uri="{FF2B5EF4-FFF2-40B4-BE49-F238E27FC236}">
                  <a16:creationId xmlns:a16="http://schemas.microsoft.com/office/drawing/2014/main" id="{DDA08643-559A-4AB7-AB99-6888C7063999}"/>
                </a:ext>
              </a:extLst>
            </p:cNvPr>
            <p:cNvSpPr>
              <a:spLocks/>
            </p:cNvSpPr>
            <p:nvPr/>
          </p:nvSpPr>
          <p:spPr bwMode="auto">
            <a:xfrm>
              <a:off x="4659" y="1805"/>
              <a:ext cx="92" cy="50"/>
            </a:xfrm>
            <a:custGeom>
              <a:avLst/>
              <a:gdLst>
                <a:gd name="T0" fmla="*/ 0 w 183"/>
                <a:gd name="T1" fmla="*/ 101 h 101"/>
                <a:gd name="T2" fmla="*/ 0 w 183"/>
                <a:gd name="T3" fmla="*/ 101 h 101"/>
                <a:gd name="T4" fmla="*/ 4 w 183"/>
                <a:gd name="T5" fmla="*/ 77 h 101"/>
                <a:gd name="T6" fmla="*/ 7 w 183"/>
                <a:gd name="T7" fmla="*/ 66 h 101"/>
                <a:gd name="T8" fmla="*/ 10 w 183"/>
                <a:gd name="T9" fmla="*/ 56 h 101"/>
                <a:gd name="T10" fmla="*/ 14 w 183"/>
                <a:gd name="T11" fmla="*/ 46 h 101"/>
                <a:gd name="T12" fmla="*/ 18 w 183"/>
                <a:gd name="T13" fmla="*/ 39 h 101"/>
                <a:gd name="T14" fmla="*/ 24 w 183"/>
                <a:gd name="T15" fmla="*/ 31 h 101"/>
                <a:gd name="T16" fmla="*/ 29 w 183"/>
                <a:gd name="T17" fmla="*/ 25 h 101"/>
                <a:gd name="T18" fmla="*/ 29 w 183"/>
                <a:gd name="T19" fmla="*/ 25 h 101"/>
                <a:gd name="T20" fmla="*/ 43 w 183"/>
                <a:gd name="T21" fmla="*/ 14 h 101"/>
                <a:gd name="T22" fmla="*/ 50 w 183"/>
                <a:gd name="T23" fmla="*/ 10 h 101"/>
                <a:gd name="T24" fmla="*/ 59 w 183"/>
                <a:gd name="T25" fmla="*/ 7 h 101"/>
                <a:gd name="T26" fmla="*/ 74 w 183"/>
                <a:gd name="T27" fmla="*/ 1 h 101"/>
                <a:gd name="T28" fmla="*/ 92 w 183"/>
                <a:gd name="T29" fmla="*/ 0 h 101"/>
                <a:gd name="T30" fmla="*/ 92 w 183"/>
                <a:gd name="T31" fmla="*/ 0 h 101"/>
                <a:gd name="T32" fmla="*/ 102 w 183"/>
                <a:gd name="T33" fmla="*/ 1 h 101"/>
                <a:gd name="T34" fmla="*/ 112 w 183"/>
                <a:gd name="T35" fmla="*/ 3 h 101"/>
                <a:gd name="T36" fmla="*/ 122 w 183"/>
                <a:gd name="T37" fmla="*/ 4 h 101"/>
                <a:gd name="T38" fmla="*/ 130 w 183"/>
                <a:gd name="T39" fmla="*/ 7 h 101"/>
                <a:gd name="T40" fmla="*/ 137 w 183"/>
                <a:gd name="T41" fmla="*/ 11 h 101"/>
                <a:gd name="T42" fmla="*/ 144 w 183"/>
                <a:gd name="T43" fmla="*/ 15 h 101"/>
                <a:gd name="T44" fmla="*/ 151 w 183"/>
                <a:gd name="T45" fmla="*/ 21 h 101"/>
                <a:gd name="T46" fmla="*/ 158 w 183"/>
                <a:gd name="T47" fmla="*/ 28 h 101"/>
                <a:gd name="T48" fmla="*/ 158 w 183"/>
                <a:gd name="T49" fmla="*/ 28 h 101"/>
                <a:gd name="T50" fmla="*/ 164 w 183"/>
                <a:gd name="T51" fmla="*/ 35 h 101"/>
                <a:gd name="T52" fmla="*/ 168 w 183"/>
                <a:gd name="T53" fmla="*/ 42 h 101"/>
                <a:gd name="T54" fmla="*/ 172 w 183"/>
                <a:gd name="T55" fmla="*/ 50 h 101"/>
                <a:gd name="T56" fmla="*/ 176 w 183"/>
                <a:gd name="T57" fmla="*/ 60 h 101"/>
                <a:gd name="T58" fmla="*/ 179 w 183"/>
                <a:gd name="T59" fmla="*/ 69 h 101"/>
                <a:gd name="T60" fmla="*/ 181 w 183"/>
                <a:gd name="T61" fmla="*/ 80 h 101"/>
                <a:gd name="T62" fmla="*/ 183 w 183"/>
                <a:gd name="T63" fmla="*/ 101 h 101"/>
                <a:gd name="T64" fmla="*/ 0 w 183"/>
                <a:gd name="T6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3" h="101">
                  <a:moveTo>
                    <a:pt x="0" y="101"/>
                  </a:moveTo>
                  <a:lnTo>
                    <a:pt x="0" y="101"/>
                  </a:lnTo>
                  <a:lnTo>
                    <a:pt x="4" y="77"/>
                  </a:lnTo>
                  <a:lnTo>
                    <a:pt x="7" y="66"/>
                  </a:lnTo>
                  <a:lnTo>
                    <a:pt x="10" y="56"/>
                  </a:lnTo>
                  <a:lnTo>
                    <a:pt x="14" y="46"/>
                  </a:lnTo>
                  <a:lnTo>
                    <a:pt x="18" y="39"/>
                  </a:lnTo>
                  <a:lnTo>
                    <a:pt x="24" y="31"/>
                  </a:lnTo>
                  <a:lnTo>
                    <a:pt x="29" y="25"/>
                  </a:lnTo>
                  <a:lnTo>
                    <a:pt x="29" y="25"/>
                  </a:lnTo>
                  <a:lnTo>
                    <a:pt x="43" y="14"/>
                  </a:lnTo>
                  <a:lnTo>
                    <a:pt x="50" y="10"/>
                  </a:lnTo>
                  <a:lnTo>
                    <a:pt x="59" y="7"/>
                  </a:lnTo>
                  <a:lnTo>
                    <a:pt x="74" y="1"/>
                  </a:lnTo>
                  <a:lnTo>
                    <a:pt x="92" y="0"/>
                  </a:lnTo>
                  <a:lnTo>
                    <a:pt x="92" y="0"/>
                  </a:lnTo>
                  <a:lnTo>
                    <a:pt x="102" y="1"/>
                  </a:lnTo>
                  <a:lnTo>
                    <a:pt x="112" y="3"/>
                  </a:lnTo>
                  <a:lnTo>
                    <a:pt x="122" y="4"/>
                  </a:lnTo>
                  <a:lnTo>
                    <a:pt x="130" y="7"/>
                  </a:lnTo>
                  <a:lnTo>
                    <a:pt x="137" y="11"/>
                  </a:lnTo>
                  <a:lnTo>
                    <a:pt x="144" y="15"/>
                  </a:lnTo>
                  <a:lnTo>
                    <a:pt x="151" y="21"/>
                  </a:lnTo>
                  <a:lnTo>
                    <a:pt x="158" y="28"/>
                  </a:lnTo>
                  <a:lnTo>
                    <a:pt x="158" y="28"/>
                  </a:lnTo>
                  <a:lnTo>
                    <a:pt x="164" y="35"/>
                  </a:lnTo>
                  <a:lnTo>
                    <a:pt x="168" y="42"/>
                  </a:lnTo>
                  <a:lnTo>
                    <a:pt x="172" y="50"/>
                  </a:lnTo>
                  <a:lnTo>
                    <a:pt x="176" y="60"/>
                  </a:lnTo>
                  <a:lnTo>
                    <a:pt x="179" y="69"/>
                  </a:lnTo>
                  <a:lnTo>
                    <a:pt x="181" y="80"/>
                  </a:lnTo>
                  <a:lnTo>
                    <a:pt x="183" y="101"/>
                  </a:lnTo>
                  <a:lnTo>
                    <a:pt x="0" y="1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3">
              <a:extLst>
                <a:ext uri="{FF2B5EF4-FFF2-40B4-BE49-F238E27FC236}">
                  <a16:creationId xmlns:a16="http://schemas.microsoft.com/office/drawing/2014/main" id="{00281E51-73C1-4753-AA37-E1C2490EC033}"/>
                </a:ext>
              </a:extLst>
            </p:cNvPr>
            <p:cNvSpPr>
              <a:spLocks noEditPoints="1"/>
            </p:cNvSpPr>
            <p:nvPr/>
          </p:nvSpPr>
          <p:spPr bwMode="auto">
            <a:xfrm>
              <a:off x="3067" y="1731"/>
              <a:ext cx="297" cy="327"/>
            </a:xfrm>
            <a:custGeom>
              <a:avLst/>
              <a:gdLst>
                <a:gd name="T0" fmla="*/ 501 w 596"/>
                <a:gd name="T1" fmla="*/ 58 h 655"/>
                <a:gd name="T2" fmla="*/ 428 w 596"/>
                <a:gd name="T3" fmla="*/ 20 h 655"/>
                <a:gd name="T4" fmla="*/ 338 w 596"/>
                <a:gd name="T5" fmla="*/ 2 h 655"/>
                <a:gd name="T6" fmla="*/ 269 w 596"/>
                <a:gd name="T7" fmla="*/ 2 h 655"/>
                <a:gd name="T8" fmla="*/ 175 w 596"/>
                <a:gd name="T9" fmla="*/ 23 h 655"/>
                <a:gd name="T10" fmla="*/ 122 w 596"/>
                <a:gd name="T11" fmla="*/ 50 h 655"/>
                <a:gd name="T12" fmla="*/ 89 w 596"/>
                <a:gd name="T13" fmla="*/ 76 h 655"/>
                <a:gd name="T14" fmla="*/ 69 w 596"/>
                <a:gd name="T15" fmla="*/ 97 h 655"/>
                <a:gd name="T16" fmla="*/ 31 w 596"/>
                <a:gd name="T17" fmla="*/ 162 h 655"/>
                <a:gd name="T18" fmla="*/ 4 w 596"/>
                <a:gd name="T19" fmla="*/ 257 h 655"/>
                <a:gd name="T20" fmla="*/ 0 w 596"/>
                <a:gd name="T21" fmla="*/ 333 h 655"/>
                <a:gd name="T22" fmla="*/ 12 w 596"/>
                <a:gd name="T23" fmla="*/ 439 h 655"/>
                <a:gd name="T24" fmla="*/ 41 w 596"/>
                <a:gd name="T25" fmla="*/ 512 h 655"/>
                <a:gd name="T26" fmla="*/ 65 w 596"/>
                <a:gd name="T27" fmla="*/ 550 h 655"/>
                <a:gd name="T28" fmla="*/ 86 w 596"/>
                <a:gd name="T29" fmla="*/ 572 h 655"/>
                <a:gd name="T30" fmla="*/ 119 w 596"/>
                <a:gd name="T31" fmla="*/ 600 h 655"/>
                <a:gd name="T32" fmla="*/ 188 w 596"/>
                <a:gd name="T33" fmla="*/ 634 h 655"/>
                <a:gd name="T34" fmla="*/ 288 w 596"/>
                <a:gd name="T35" fmla="*/ 654 h 655"/>
                <a:gd name="T36" fmla="*/ 361 w 596"/>
                <a:gd name="T37" fmla="*/ 655 h 655"/>
                <a:gd name="T38" fmla="*/ 452 w 596"/>
                <a:gd name="T39" fmla="*/ 645 h 655"/>
                <a:gd name="T40" fmla="*/ 505 w 596"/>
                <a:gd name="T41" fmla="*/ 631 h 655"/>
                <a:gd name="T42" fmla="*/ 523 w 596"/>
                <a:gd name="T43" fmla="*/ 467 h 655"/>
                <a:gd name="T44" fmla="*/ 453 w 596"/>
                <a:gd name="T45" fmla="*/ 490 h 655"/>
                <a:gd name="T46" fmla="*/ 404 w 596"/>
                <a:gd name="T47" fmla="*/ 498 h 655"/>
                <a:gd name="T48" fmla="*/ 351 w 596"/>
                <a:gd name="T49" fmla="*/ 501 h 655"/>
                <a:gd name="T50" fmla="*/ 307 w 596"/>
                <a:gd name="T51" fmla="*/ 497 h 655"/>
                <a:gd name="T52" fmla="*/ 272 w 596"/>
                <a:gd name="T53" fmla="*/ 484 h 655"/>
                <a:gd name="T54" fmla="*/ 253 w 596"/>
                <a:gd name="T55" fmla="*/ 470 h 655"/>
                <a:gd name="T56" fmla="*/ 232 w 596"/>
                <a:gd name="T57" fmla="*/ 445 h 655"/>
                <a:gd name="T58" fmla="*/ 219 w 596"/>
                <a:gd name="T59" fmla="*/ 413 h 655"/>
                <a:gd name="T60" fmla="*/ 596 w 596"/>
                <a:gd name="T61" fmla="*/ 387 h 655"/>
                <a:gd name="T62" fmla="*/ 595 w 596"/>
                <a:gd name="T63" fmla="*/ 256 h 655"/>
                <a:gd name="T64" fmla="*/ 578 w 596"/>
                <a:gd name="T65" fmla="*/ 166 h 655"/>
                <a:gd name="T66" fmla="*/ 539 w 596"/>
                <a:gd name="T67" fmla="*/ 96 h 655"/>
                <a:gd name="T68" fmla="*/ 219 w 596"/>
                <a:gd name="T69" fmla="*/ 250 h 655"/>
                <a:gd name="T70" fmla="*/ 229 w 596"/>
                <a:gd name="T71" fmla="*/ 205 h 655"/>
                <a:gd name="T72" fmla="*/ 243 w 596"/>
                <a:gd name="T73" fmla="*/ 180 h 655"/>
                <a:gd name="T74" fmla="*/ 262 w 596"/>
                <a:gd name="T75" fmla="*/ 163 h 655"/>
                <a:gd name="T76" fmla="*/ 295 w 596"/>
                <a:gd name="T77" fmla="*/ 150 h 655"/>
                <a:gd name="T78" fmla="*/ 323 w 596"/>
                <a:gd name="T79" fmla="*/ 150 h 655"/>
                <a:gd name="T80" fmla="*/ 349 w 596"/>
                <a:gd name="T81" fmla="*/ 156 h 655"/>
                <a:gd name="T82" fmla="*/ 372 w 596"/>
                <a:gd name="T83" fmla="*/ 170 h 655"/>
                <a:gd name="T84" fmla="*/ 383 w 596"/>
                <a:gd name="T85" fmla="*/ 184 h 655"/>
                <a:gd name="T86" fmla="*/ 396 w 596"/>
                <a:gd name="T87" fmla="*/ 209 h 655"/>
                <a:gd name="T88" fmla="*/ 403 w 596"/>
                <a:gd name="T89" fmla="*/ 25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6" h="655">
                  <a:moveTo>
                    <a:pt x="520" y="76"/>
                  </a:moveTo>
                  <a:lnTo>
                    <a:pt x="520" y="76"/>
                  </a:lnTo>
                  <a:lnTo>
                    <a:pt x="501" y="58"/>
                  </a:lnTo>
                  <a:lnTo>
                    <a:pt x="478" y="43"/>
                  </a:lnTo>
                  <a:lnTo>
                    <a:pt x="454" y="30"/>
                  </a:lnTo>
                  <a:lnTo>
                    <a:pt x="428" y="20"/>
                  </a:lnTo>
                  <a:lnTo>
                    <a:pt x="400" y="12"/>
                  </a:lnTo>
                  <a:lnTo>
                    <a:pt x="370" y="6"/>
                  </a:lnTo>
                  <a:lnTo>
                    <a:pt x="338" y="2"/>
                  </a:lnTo>
                  <a:lnTo>
                    <a:pt x="304" y="0"/>
                  </a:lnTo>
                  <a:lnTo>
                    <a:pt x="304" y="0"/>
                  </a:lnTo>
                  <a:lnTo>
                    <a:pt x="269" y="2"/>
                  </a:lnTo>
                  <a:lnTo>
                    <a:pt x="236" y="6"/>
                  </a:lnTo>
                  <a:lnTo>
                    <a:pt x="204" y="13"/>
                  </a:lnTo>
                  <a:lnTo>
                    <a:pt x="175" y="23"/>
                  </a:lnTo>
                  <a:lnTo>
                    <a:pt x="147" y="34"/>
                  </a:lnTo>
                  <a:lnTo>
                    <a:pt x="135" y="41"/>
                  </a:lnTo>
                  <a:lnTo>
                    <a:pt x="122" y="50"/>
                  </a:lnTo>
                  <a:lnTo>
                    <a:pt x="111" y="58"/>
                  </a:lnTo>
                  <a:lnTo>
                    <a:pt x="100" y="66"/>
                  </a:lnTo>
                  <a:lnTo>
                    <a:pt x="89" y="76"/>
                  </a:lnTo>
                  <a:lnTo>
                    <a:pt x="79" y="87"/>
                  </a:lnTo>
                  <a:lnTo>
                    <a:pt x="79" y="87"/>
                  </a:lnTo>
                  <a:lnTo>
                    <a:pt x="69" y="97"/>
                  </a:lnTo>
                  <a:lnTo>
                    <a:pt x="61" y="110"/>
                  </a:lnTo>
                  <a:lnTo>
                    <a:pt x="45" y="134"/>
                  </a:lnTo>
                  <a:lnTo>
                    <a:pt x="31" y="162"/>
                  </a:lnTo>
                  <a:lnTo>
                    <a:pt x="20" y="191"/>
                  </a:lnTo>
                  <a:lnTo>
                    <a:pt x="12" y="223"/>
                  </a:lnTo>
                  <a:lnTo>
                    <a:pt x="4" y="257"/>
                  </a:lnTo>
                  <a:lnTo>
                    <a:pt x="2" y="293"/>
                  </a:lnTo>
                  <a:lnTo>
                    <a:pt x="0" y="333"/>
                  </a:lnTo>
                  <a:lnTo>
                    <a:pt x="0" y="333"/>
                  </a:lnTo>
                  <a:lnTo>
                    <a:pt x="2" y="371"/>
                  </a:lnTo>
                  <a:lnTo>
                    <a:pt x="6" y="406"/>
                  </a:lnTo>
                  <a:lnTo>
                    <a:pt x="12" y="439"/>
                  </a:lnTo>
                  <a:lnTo>
                    <a:pt x="21" y="470"/>
                  </a:lnTo>
                  <a:lnTo>
                    <a:pt x="34" y="498"/>
                  </a:lnTo>
                  <a:lnTo>
                    <a:pt x="41" y="512"/>
                  </a:lnTo>
                  <a:lnTo>
                    <a:pt x="48" y="525"/>
                  </a:lnTo>
                  <a:lnTo>
                    <a:pt x="56" y="537"/>
                  </a:lnTo>
                  <a:lnTo>
                    <a:pt x="65" y="550"/>
                  </a:lnTo>
                  <a:lnTo>
                    <a:pt x="75" y="561"/>
                  </a:lnTo>
                  <a:lnTo>
                    <a:pt x="86" y="572"/>
                  </a:lnTo>
                  <a:lnTo>
                    <a:pt x="86" y="572"/>
                  </a:lnTo>
                  <a:lnTo>
                    <a:pt x="96" y="582"/>
                  </a:lnTo>
                  <a:lnTo>
                    <a:pt x="108" y="592"/>
                  </a:lnTo>
                  <a:lnTo>
                    <a:pt x="119" y="600"/>
                  </a:lnTo>
                  <a:lnTo>
                    <a:pt x="132" y="609"/>
                  </a:lnTo>
                  <a:lnTo>
                    <a:pt x="159" y="623"/>
                  </a:lnTo>
                  <a:lnTo>
                    <a:pt x="188" y="634"/>
                  </a:lnTo>
                  <a:lnTo>
                    <a:pt x="219" y="644"/>
                  </a:lnTo>
                  <a:lnTo>
                    <a:pt x="253" y="651"/>
                  </a:lnTo>
                  <a:lnTo>
                    <a:pt x="288" y="654"/>
                  </a:lnTo>
                  <a:lnTo>
                    <a:pt x="325" y="655"/>
                  </a:lnTo>
                  <a:lnTo>
                    <a:pt x="325" y="655"/>
                  </a:lnTo>
                  <a:lnTo>
                    <a:pt x="361" y="655"/>
                  </a:lnTo>
                  <a:lnTo>
                    <a:pt x="394" y="654"/>
                  </a:lnTo>
                  <a:lnTo>
                    <a:pt x="425" y="649"/>
                  </a:lnTo>
                  <a:lnTo>
                    <a:pt x="452" y="645"/>
                  </a:lnTo>
                  <a:lnTo>
                    <a:pt x="452" y="645"/>
                  </a:lnTo>
                  <a:lnTo>
                    <a:pt x="478" y="640"/>
                  </a:lnTo>
                  <a:lnTo>
                    <a:pt x="505" y="631"/>
                  </a:lnTo>
                  <a:lnTo>
                    <a:pt x="530" y="621"/>
                  </a:lnTo>
                  <a:lnTo>
                    <a:pt x="555" y="610"/>
                  </a:lnTo>
                  <a:lnTo>
                    <a:pt x="523" y="467"/>
                  </a:lnTo>
                  <a:lnTo>
                    <a:pt x="523"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3" y="470"/>
                  </a:lnTo>
                  <a:lnTo>
                    <a:pt x="253" y="470"/>
                  </a:lnTo>
                  <a:lnTo>
                    <a:pt x="244" y="463"/>
                  </a:lnTo>
                  <a:lnTo>
                    <a:pt x="237" y="455"/>
                  </a:lnTo>
                  <a:lnTo>
                    <a:pt x="232" y="445"/>
                  </a:lnTo>
                  <a:lnTo>
                    <a:pt x="226" y="435"/>
                  </a:lnTo>
                  <a:lnTo>
                    <a:pt x="222" y="424"/>
                  </a:lnTo>
                  <a:lnTo>
                    <a:pt x="219" y="413"/>
                  </a:lnTo>
                  <a:lnTo>
                    <a:pt x="216" y="400"/>
                  </a:lnTo>
                  <a:lnTo>
                    <a:pt x="215" y="387"/>
                  </a:lnTo>
                  <a:lnTo>
                    <a:pt x="596" y="387"/>
                  </a:lnTo>
                  <a:lnTo>
                    <a:pt x="596" y="291"/>
                  </a:lnTo>
                  <a:lnTo>
                    <a:pt x="596" y="291"/>
                  </a:lnTo>
                  <a:lnTo>
                    <a:pt x="595" y="256"/>
                  </a:lnTo>
                  <a:lnTo>
                    <a:pt x="592" y="225"/>
                  </a:lnTo>
                  <a:lnTo>
                    <a:pt x="585" y="194"/>
                  </a:lnTo>
                  <a:lnTo>
                    <a:pt x="578" y="166"/>
                  </a:lnTo>
                  <a:lnTo>
                    <a:pt x="567" y="141"/>
                  </a:lnTo>
                  <a:lnTo>
                    <a:pt x="554" y="117"/>
                  </a:lnTo>
                  <a:lnTo>
                    <a:pt x="539" y="96"/>
                  </a:lnTo>
                  <a:lnTo>
                    <a:pt x="520" y="76"/>
                  </a:lnTo>
                  <a:close/>
                  <a:moveTo>
                    <a:pt x="219" y="250"/>
                  </a:moveTo>
                  <a:lnTo>
                    <a:pt x="219" y="250"/>
                  </a:lnTo>
                  <a:lnTo>
                    <a:pt x="223" y="226"/>
                  </a:lnTo>
                  <a:lnTo>
                    <a:pt x="226" y="215"/>
                  </a:lnTo>
                  <a:lnTo>
                    <a:pt x="229" y="205"/>
                  </a:lnTo>
                  <a:lnTo>
                    <a:pt x="233" y="195"/>
                  </a:lnTo>
                  <a:lnTo>
                    <a:pt x="239" y="188"/>
                  </a:lnTo>
                  <a:lnTo>
                    <a:pt x="243" y="180"/>
                  </a:lnTo>
                  <a:lnTo>
                    <a:pt x="250" y="174"/>
                  </a:lnTo>
                  <a:lnTo>
                    <a:pt x="250" y="174"/>
                  </a:lnTo>
                  <a:lnTo>
                    <a:pt x="262" y="163"/>
                  </a:lnTo>
                  <a:lnTo>
                    <a:pt x="269" y="159"/>
                  </a:lnTo>
                  <a:lnTo>
                    <a:pt x="278" y="156"/>
                  </a:lnTo>
                  <a:lnTo>
                    <a:pt x="295" y="150"/>
                  </a:lnTo>
                  <a:lnTo>
                    <a:pt x="313" y="149"/>
                  </a:lnTo>
                  <a:lnTo>
                    <a:pt x="313" y="149"/>
                  </a:lnTo>
                  <a:lnTo>
                    <a:pt x="323" y="150"/>
                  </a:lnTo>
                  <a:lnTo>
                    <a:pt x="331" y="152"/>
                  </a:lnTo>
                  <a:lnTo>
                    <a:pt x="341" y="153"/>
                  </a:lnTo>
                  <a:lnTo>
                    <a:pt x="349" y="156"/>
                  </a:lnTo>
                  <a:lnTo>
                    <a:pt x="356" y="160"/>
                  </a:lnTo>
                  <a:lnTo>
                    <a:pt x="365" y="164"/>
                  </a:lnTo>
                  <a:lnTo>
                    <a:pt x="372" y="170"/>
                  </a:lnTo>
                  <a:lnTo>
                    <a:pt x="377" y="177"/>
                  </a:lnTo>
                  <a:lnTo>
                    <a:pt x="377" y="177"/>
                  </a:lnTo>
                  <a:lnTo>
                    <a:pt x="383" y="184"/>
                  </a:lnTo>
                  <a:lnTo>
                    <a:pt x="389" y="191"/>
                  </a:lnTo>
                  <a:lnTo>
                    <a:pt x="393" y="199"/>
                  </a:lnTo>
                  <a:lnTo>
                    <a:pt x="396" y="209"/>
                  </a:lnTo>
                  <a:lnTo>
                    <a:pt x="398" y="218"/>
                  </a:lnTo>
                  <a:lnTo>
                    <a:pt x="401" y="229"/>
                  </a:lnTo>
                  <a:lnTo>
                    <a:pt x="403" y="250"/>
                  </a:lnTo>
                  <a:lnTo>
                    <a:pt x="219" y="2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4">
              <a:extLst>
                <a:ext uri="{FF2B5EF4-FFF2-40B4-BE49-F238E27FC236}">
                  <a16:creationId xmlns:a16="http://schemas.microsoft.com/office/drawing/2014/main" id="{6A81EAFE-C353-40DB-AB51-945FFDE14704}"/>
                </a:ext>
              </a:extLst>
            </p:cNvPr>
            <p:cNvSpPr>
              <a:spLocks/>
            </p:cNvSpPr>
            <p:nvPr/>
          </p:nvSpPr>
          <p:spPr bwMode="auto">
            <a:xfrm>
              <a:off x="3067" y="1731"/>
              <a:ext cx="297" cy="327"/>
            </a:xfrm>
            <a:custGeom>
              <a:avLst/>
              <a:gdLst>
                <a:gd name="T0" fmla="*/ 520 w 596"/>
                <a:gd name="T1" fmla="*/ 76 h 655"/>
                <a:gd name="T2" fmla="*/ 478 w 596"/>
                <a:gd name="T3" fmla="*/ 43 h 655"/>
                <a:gd name="T4" fmla="*/ 428 w 596"/>
                <a:gd name="T5" fmla="*/ 20 h 655"/>
                <a:gd name="T6" fmla="*/ 370 w 596"/>
                <a:gd name="T7" fmla="*/ 6 h 655"/>
                <a:gd name="T8" fmla="*/ 304 w 596"/>
                <a:gd name="T9" fmla="*/ 0 h 655"/>
                <a:gd name="T10" fmla="*/ 269 w 596"/>
                <a:gd name="T11" fmla="*/ 2 h 655"/>
                <a:gd name="T12" fmla="*/ 204 w 596"/>
                <a:gd name="T13" fmla="*/ 13 h 655"/>
                <a:gd name="T14" fmla="*/ 147 w 596"/>
                <a:gd name="T15" fmla="*/ 34 h 655"/>
                <a:gd name="T16" fmla="*/ 122 w 596"/>
                <a:gd name="T17" fmla="*/ 50 h 655"/>
                <a:gd name="T18" fmla="*/ 100 w 596"/>
                <a:gd name="T19" fmla="*/ 66 h 655"/>
                <a:gd name="T20" fmla="*/ 79 w 596"/>
                <a:gd name="T21" fmla="*/ 87 h 655"/>
                <a:gd name="T22" fmla="*/ 69 w 596"/>
                <a:gd name="T23" fmla="*/ 97 h 655"/>
                <a:gd name="T24" fmla="*/ 45 w 596"/>
                <a:gd name="T25" fmla="*/ 134 h 655"/>
                <a:gd name="T26" fmla="*/ 20 w 596"/>
                <a:gd name="T27" fmla="*/ 191 h 655"/>
                <a:gd name="T28" fmla="*/ 4 w 596"/>
                <a:gd name="T29" fmla="*/ 257 h 655"/>
                <a:gd name="T30" fmla="*/ 0 w 596"/>
                <a:gd name="T31" fmla="*/ 333 h 655"/>
                <a:gd name="T32" fmla="*/ 2 w 596"/>
                <a:gd name="T33" fmla="*/ 371 h 655"/>
                <a:gd name="T34" fmla="*/ 12 w 596"/>
                <a:gd name="T35" fmla="*/ 439 h 655"/>
                <a:gd name="T36" fmla="*/ 34 w 596"/>
                <a:gd name="T37" fmla="*/ 498 h 655"/>
                <a:gd name="T38" fmla="*/ 48 w 596"/>
                <a:gd name="T39" fmla="*/ 525 h 655"/>
                <a:gd name="T40" fmla="*/ 65 w 596"/>
                <a:gd name="T41" fmla="*/ 550 h 655"/>
                <a:gd name="T42" fmla="*/ 86 w 596"/>
                <a:gd name="T43" fmla="*/ 572 h 655"/>
                <a:gd name="T44" fmla="*/ 96 w 596"/>
                <a:gd name="T45" fmla="*/ 582 h 655"/>
                <a:gd name="T46" fmla="*/ 119 w 596"/>
                <a:gd name="T47" fmla="*/ 600 h 655"/>
                <a:gd name="T48" fmla="*/ 159 w 596"/>
                <a:gd name="T49" fmla="*/ 623 h 655"/>
                <a:gd name="T50" fmla="*/ 219 w 596"/>
                <a:gd name="T51" fmla="*/ 644 h 655"/>
                <a:gd name="T52" fmla="*/ 288 w 596"/>
                <a:gd name="T53" fmla="*/ 654 h 655"/>
                <a:gd name="T54" fmla="*/ 325 w 596"/>
                <a:gd name="T55" fmla="*/ 655 h 655"/>
                <a:gd name="T56" fmla="*/ 394 w 596"/>
                <a:gd name="T57" fmla="*/ 654 h 655"/>
                <a:gd name="T58" fmla="*/ 452 w 596"/>
                <a:gd name="T59" fmla="*/ 645 h 655"/>
                <a:gd name="T60" fmla="*/ 478 w 596"/>
                <a:gd name="T61" fmla="*/ 640 h 655"/>
                <a:gd name="T62" fmla="*/ 530 w 596"/>
                <a:gd name="T63" fmla="*/ 621 h 655"/>
                <a:gd name="T64" fmla="*/ 523 w 596"/>
                <a:gd name="T65" fmla="*/ 467 h 655"/>
                <a:gd name="T66" fmla="*/ 487 w 596"/>
                <a:gd name="T67" fmla="*/ 480 h 655"/>
                <a:gd name="T68" fmla="*/ 453 w 596"/>
                <a:gd name="T69" fmla="*/ 490 h 655"/>
                <a:gd name="T70" fmla="*/ 404 w 596"/>
                <a:gd name="T71" fmla="*/ 498 h 655"/>
                <a:gd name="T72" fmla="*/ 351 w 596"/>
                <a:gd name="T73" fmla="*/ 501 h 655"/>
                <a:gd name="T74" fmla="*/ 335 w 596"/>
                <a:gd name="T75" fmla="*/ 499 h 655"/>
                <a:gd name="T76" fmla="*/ 307 w 596"/>
                <a:gd name="T77" fmla="*/ 497 h 655"/>
                <a:gd name="T78" fmla="*/ 283 w 596"/>
                <a:gd name="T79" fmla="*/ 488 h 655"/>
                <a:gd name="T80" fmla="*/ 262 w 596"/>
                <a:gd name="T81" fmla="*/ 477 h 655"/>
                <a:gd name="T82" fmla="*/ 253 w 596"/>
                <a:gd name="T83" fmla="*/ 470 h 655"/>
                <a:gd name="T84" fmla="*/ 237 w 596"/>
                <a:gd name="T85" fmla="*/ 455 h 655"/>
                <a:gd name="T86" fmla="*/ 226 w 596"/>
                <a:gd name="T87" fmla="*/ 435 h 655"/>
                <a:gd name="T88" fmla="*/ 219 w 596"/>
                <a:gd name="T89" fmla="*/ 413 h 655"/>
                <a:gd name="T90" fmla="*/ 215 w 596"/>
                <a:gd name="T91" fmla="*/ 387 h 655"/>
                <a:gd name="T92" fmla="*/ 596 w 596"/>
                <a:gd name="T93" fmla="*/ 291 h 655"/>
                <a:gd name="T94" fmla="*/ 595 w 596"/>
                <a:gd name="T95" fmla="*/ 256 h 655"/>
                <a:gd name="T96" fmla="*/ 585 w 596"/>
                <a:gd name="T97" fmla="*/ 194 h 655"/>
                <a:gd name="T98" fmla="*/ 567 w 596"/>
                <a:gd name="T99" fmla="*/ 141 h 655"/>
                <a:gd name="T100" fmla="*/ 539 w 596"/>
                <a:gd name="T101" fmla="*/ 9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655">
                  <a:moveTo>
                    <a:pt x="520" y="76"/>
                  </a:moveTo>
                  <a:lnTo>
                    <a:pt x="520" y="76"/>
                  </a:lnTo>
                  <a:lnTo>
                    <a:pt x="501" y="58"/>
                  </a:lnTo>
                  <a:lnTo>
                    <a:pt x="478" y="43"/>
                  </a:lnTo>
                  <a:lnTo>
                    <a:pt x="454" y="30"/>
                  </a:lnTo>
                  <a:lnTo>
                    <a:pt x="428" y="20"/>
                  </a:lnTo>
                  <a:lnTo>
                    <a:pt x="400" y="12"/>
                  </a:lnTo>
                  <a:lnTo>
                    <a:pt x="370" y="6"/>
                  </a:lnTo>
                  <a:lnTo>
                    <a:pt x="338" y="2"/>
                  </a:lnTo>
                  <a:lnTo>
                    <a:pt x="304" y="0"/>
                  </a:lnTo>
                  <a:lnTo>
                    <a:pt x="304" y="0"/>
                  </a:lnTo>
                  <a:lnTo>
                    <a:pt x="269" y="2"/>
                  </a:lnTo>
                  <a:lnTo>
                    <a:pt x="236" y="6"/>
                  </a:lnTo>
                  <a:lnTo>
                    <a:pt x="204" y="13"/>
                  </a:lnTo>
                  <a:lnTo>
                    <a:pt x="175" y="23"/>
                  </a:lnTo>
                  <a:lnTo>
                    <a:pt x="147" y="34"/>
                  </a:lnTo>
                  <a:lnTo>
                    <a:pt x="135" y="41"/>
                  </a:lnTo>
                  <a:lnTo>
                    <a:pt x="122" y="50"/>
                  </a:lnTo>
                  <a:lnTo>
                    <a:pt x="111" y="58"/>
                  </a:lnTo>
                  <a:lnTo>
                    <a:pt x="100" y="66"/>
                  </a:lnTo>
                  <a:lnTo>
                    <a:pt x="89" y="76"/>
                  </a:lnTo>
                  <a:lnTo>
                    <a:pt x="79" y="87"/>
                  </a:lnTo>
                  <a:lnTo>
                    <a:pt x="79" y="87"/>
                  </a:lnTo>
                  <a:lnTo>
                    <a:pt x="69" y="97"/>
                  </a:lnTo>
                  <a:lnTo>
                    <a:pt x="61" y="110"/>
                  </a:lnTo>
                  <a:lnTo>
                    <a:pt x="45" y="134"/>
                  </a:lnTo>
                  <a:lnTo>
                    <a:pt x="31" y="162"/>
                  </a:lnTo>
                  <a:lnTo>
                    <a:pt x="20" y="191"/>
                  </a:lnTo>
                  <a:lnTo>
                    <a:pt x="12" y="223"/>
                  </a:lnTo>
                  <a:lnTo>
                    <a:pt x="4" y="257"/>
                  </a:lnTo>
                  <a:lnTo>
                    <a:pt x="2" y="293"/>
                  </a:lnTo>
                  <a:lnTo>
                    <a:pt x="0" y="333"/>
                  </a:lnTo>
                  <a:lnTo>
                    <a:pt x="0" y="333"/>
                  </a:lnTo>
                  <a:lnTo>
                    <a:pt x="2" y="371"/>
                  </a:lnTo>
                  <a:lnTo>
                    <a:pt x="6" y="406"/>
                  </a:lnTo>
                  <a:lnTo>
                    <a:pt x="12" y="439"/>
                  </a:lnTo>
                  <a:lnTo>
                    <a:pt x="21" y="470"/>
                  </a:lnTo>
                  <a:lnTo>
                    <a:pt x="34" y="498"/>
                  </a:lnTo>
                  <a:lnTo>
                    <a:pt x="41" y="512"/>
                  </a:lnTo>
                  <a:lnTo>
                    <a:pt x="48" y="525"/>
                  </a:lnTo>
                  <a:lnTo>
                    <a:pt x="56" y="537"/>
                  </a:lnTo>
                  <a:lnTo>
                    <a:pt x="65" y="550"/>
                  </a:lnTo>
                  <a:lnTo>
                    <a:pt x="75" y="561"/>
                  </a:lnTo>
                  <a:lnTo>
                    <a:pt x="86" y="572"/>
                  </a:lnTo>
                  <a:lnTo>
                    <a:pt x="86" y="572"/>
                  </a:lnTo>
                  <a:lnTo>
                    <a:pt x="96" y="582"/>
                  </a:lnTo>
                  <a:lnTo>
                    <a:pt x="108" y="592"/>
                  </a:lnTo>
                  <a:lnTo>
                    <a:pt x="119" y="600"/>
                  </a:lnTo>
                  <a:lnTo>
                    <a:pt x="132" y="609"/>
                  </a:lnTo>
                  <a:lnTo>
                    <a:pt x="159" y="623"/>
                  </a:lnTo>
                  <a:lnTo>
                    <a:pt x="188" y="634"/>
                  </a:lnTo>
                  <a:lnTo>
                    <a:pt x="219" y="644"/>
                  </a:lnTo>
                  <a:lnTo>
                    <a:pt x="253" y="651"/>
                  </a:lnTo>
                  <a:lnTo>
                    <a:pt x="288" y="654"/>
                  </a:lnTo>
                  <a:lnTo>
                    <a:pt x="325" y="655"/>
                  </a:lnTo>
                  <a:lnTo>
                    <a:pt x="325" y="655"/>
                  </a:lnTo>
                  <a:lnTo>
                    <a:pt x="361" y="655"/>
                  </a:lnTo>
                  <a:lnTo>
                    <a:pt x="394" y="654"/>
                  </a:lnTo>
                  <a:lnTo>
                    <a:pt x="425" y="649"/>
                  </a:lnTo>
                  <a:lnTo>
                    <a:pt x="452" y="645"/>
                  </a:lnTo>
                  <a:lnTo>
                    <a:pt x="452" y="645"/>
                  </a:lnTo>
                  <a:lnTo>
                    <a:pt x="478" y="640"/>
                  </a:lnTo>
                  <a:lnTo>
                    <a:pt x="505" y="631"/>
                  </a:lnTo>
                  <a:lnTo>
                    <a:pt x="530" y="621"/>
                  </a:lnTo>
                  <a:lnTo>
                    <a:pt x="555" y="610"/>
                  </a:lnTo>
                  <a:lnTo>
                    <a:pt x="523" y="467"/>
                  </a:lnTo>
                  <a:lnTo>
                    <a:pt x="523"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3" y="470"/>
                  </a:lnTo>
                  <a:lnTo>
                    <a:pt x="253" y="470"/>
                  </a:lnTo>
                  <a:lnTo>
                    <a:pt x="244" y="463"/>
                  </a:lnTo>
                  <a:lnTo>
                    <a:pt x="237" y="455"/>
                  </a:lnTo>
                  <a:lnTo>
                    <a:pt x="232" y="445"/>
                  </a:lnTo>
                  <a:lnTo>
                    <a:pt x="226" y="435"/>
                  </a:lnTo>
                  <a:lnTo>
                    <a:pt x="222" y="424"/>
                  </a:lnTo>
                  <a:lnTo>
                    <a:pt x="219" y="413"/>
                  </a:lnTo>
                  <a:lnTo>
                    <a:pt x="216" y="400"/>
                  </a:lnTo>
                  <a:lnTo>
                    <a:pt x="215" y="387"/>
                  </a:lnTo>
                  <a:lnTo>
                    <a:pt x="596" y="387"/>
                  </a:lnTo>
                  <a:lnTo>
                    <a:pt x="596" y="291"/>
                  </a:lnTo>
                  <a:lnTo>
                    <a:pt x="596" y="291"/>
                  </a:lnTo>
                  <a:lnTo>
                    <a:pt x="595" y="256"/>
                  </a:lnTo>
                  <a:lnTo>
                    <a:pt x="592" y="225"/>
                  </a:lnTo>
                  <a:lnTo>
                    <a:pt x="585" y="194"/>
                  </a:lnTo>
                  <a:lnTo>
                    <a:pt x="578" y="166"/>
                  </a:lnTo>
                  <a:lnTo>
                    <a:pt x="567" y="141"/>
                  </a:lnTo>
                  <a:lnTo>
                    <a:pt x="554" y="117"/>
                  </a:lnTo>
                  <a:lnTo>
                    <a:pt x="539" y="96"/>
                  </a:lnTo>
                  <a:lnTo>
                    <a:pt x="520" y="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
              <a:extLst>
                <a:ext uri="{FF2B5EF4-FFF2-40B4-BE49-F238E27FC236}">
                  <a16:creationId xmlns:a16="http://schemas.microsoft.com/office/drawing/2014/main" id="{7F2FCE17-E4BA-455B-A155-273F6B7BB6BB}"/>
                </a:ext>
              </a:extLst>
            </p:cNvPr>
            <p:cNvSpPr>
              <a:spLocks/>
            </p:cNvSpPr>
            <p:nvPr/>
          </p:nvSpPr>
          <p:spPr bwMode="auto">
            <a:xfrm>
              <a:off x="3176" y="1805"/>
              <a:ext cx="92" cy="50"/>
            </a:xfrm>
            <a:custGeom>
              <a:avLst/>
              <a:gdLst>
                <a:gd name="T0" fmla="*/ 0 w 184"/>
                <a:gd name="T1" fmla="*/ 101 h 101"/>
                <a:gd name="T2" fmla="*/ 0 w 184"/>
                <a:gd name="T3" fmla="*/ 101 h 101"/>
                <a:gd name="T4" fmla="*/ 4 w 184"/>
                <a:gd name="T5" fmla="*/ 77 h 101"/>
                <a:gd name="T6" fmla="*/ 7 w 184"/>
                <a:gd name="T7" fmla="*/ 66 h 101"/>
                <a:gd name="T8" fmla="*/ 10 w 184"/>
                <a:gd name="T9" fmla="*/ 56 h 101"/>
                <a:gd name="T10" fmla="*/ 14 w 184"/>
                <a:gd name="T11" fmla="*/ 46 h 101"/>
                <a:gd name="T12" fmla="*/ 20 w 184"/>
                <a:gd name="T13" fmla="*/ 39 h 101"/>
                <a:gd name="T14" fmla="*/ 24 w 184"/>
                <a:gd name="T15" fmla="*/ 31 h 101"/>
                <a:gd name="T16" fmla="*/ 31 w 184"/>
                <a:gd name="T17" fmla="*/ 25 h 101"/>
                <a:gd name="T18" fmla="*/ 31 w 184"/>
                <a:gd name="T19" fmla="*/ 25 h 101"/>
                <a:gd name="T20" fmla="*/ 43 w 184"/>
                <a:gd name="T21" fmla="*/ 14 h 101"/>
                <a:gd name="T22" fmla="*/ 50 w 184"/>
                <a:gd name="T23" fmla="*/ 10 h 101"/>
                <a:gd name="T24" fmla="*/ 59 w 184"/>
                <a:gd name="T25" fmla="*/ 7 h 101"/>
                <a:gd name="T26" fmla="*/ 76 w 184"/>
                <a:gd name="T27" fmla="*/ 1 h 101"/>
                <a:gd name="T28" fmla="*/ 94 w 184"/>
                <a:gd name="T29" fmla="*/ 0 h 101"/>
                <a:gd name="T30" fmla="*/ 94 w 184"/>
                <a:gd name="T31" fmla="*/ 0 h 101"/>
                <a:gd name="T32" fmla="*/ 104 w 184"/>
                <a:gd name="T33" fmla="*/ 1 h 101"/>
                <a:gd name="T34" fmla="*/ 112 w 184"/>
                <a:gd name="T35" fmla="*/ 3 h 101"/>
                <a:gd name="T36" fmla="*/ 122 w 184"/>
                <a:gd name="T37" fmla="*/ 4 h 101"/>
                <a:gd name="T38" fmla="*/ 130 w 184"/>
                <a:gd name="T39" fmla="*/ 7 h 101"/>
                <a:gd name="T40" fmla="*/ 137 w 184"/>
                <a:gd name="T41" fmla="*/ 11 h 101"/>
                <a:gd name="T42" fmla="*/ 146 w 184"/>
                <a:gd name="T43" fmla="*/ 15 h 101"/>
                <a:gd name="T44" fmla="*/ 153 w 184"/>
                <a:gd name="T45" fmla="*/ 21 h 101"/>
                <a:gd name="T46" fmla="*/ 158 w 184"/>
                <a:gd name="T47" fmla="*/ 28 h 101"/>
                <a:gd name="T48" fmla="*/ 158 w 184"/>
                <a:gd name="T49" fmla="*/ 28 h 101"/>
                <a:gd name="T50" fmla="*/ 164 w 184"/>
                <a:gd name="T51" fmla="*/ 35 h 101"/>
                <a:gd name="T52" fmla="*/ 170 w 184"/>
                <a:gd name="T53" fmla="*/ 42 h 101"/>
                <a:gd name="T54" fmla="*/ 174 w 184"/>
                <a:gd name="T55" fmla="*/ 50 h 101"/>
                <a:gd name="T56" fmla="*/ 177 w 184"/>
                <a:gd name="T57" fmla="*/ 60 h 101"/>
                <a:gd name="T58" fmla="*/ 179 w 184"/>
                <a:gd name="T59" fmla="*/ 69 h 101"/>
                <a:gd name="T60" fmla="*/ 182 w 184"/>
                <a:gd name="T61" fmla="*/ 80 h 101"/>
                <a:gd name="T62" fmla="*/ 184 w 184"/>
                <a:gd name="T63" fmla="*/ 101 h 101"/>
                <a:gd name="T64" fmla="*/ 0 w 184"/>
                <a:gd name="T6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01">
                  <a:moveTo>
                    <a:pt x="0" y="101"/>
                  </a:moveTo>
                  <a:lnTo>
                    <a:pt x="0" y="101"/>
                  </a:lnTo>
                  <a:lnTo>
                    <a:pt x="4" y="77"/>
                  </a:lnTo>
                  <a:lnTo>
                    <a:pt x="7" y="66"/>
                  </a:lnTo>
                  <a:lnTo>
                    <a:pt x="10" y="56"/>
                  </a:lnTo>
                  <a:lnTo>
                    <a:pt x="14" y="46"/>
                  </a:lnTo>
                  <a:lnTo>
                    <a:pt x="20" y="39"/>
                  </a:lnTo>
                  <a:lnTo>
                    <a:pt x="24" y="31"/>
                  </a:lnTo>
                  <a:lnTo>
                    <a:pt x="31" y="25"/>
                  </a:lnTo>
                  <a:lnTo>
                    <a:pt x="31" y="25"/>
                  </a:lnTo>
                  <a:lnTo>
                    <a:pt x="43" y="14"/>
                  </a:lnTo>
                  <a:lnTo>
                    <a:pt x="50" y="10"/>
                  </a:lnTo>
                  <a:lnTo>
                    <a:pt x="59" y="7"/>
                  </a:lnTo>
                  <a:lnTo>
                    <a:pt x="76" y="1"/>
                  </a:lnTo>
                  <a:lnTo>
                    <a:pt x="94" y="0"/>
                  </a:lnTo>
                  <a:lnTo>
                    <a:pt x="94" y="0"/>
                  </a:lnTo>
                  <a:lnTo>
                    <a:pt x="104" y="1"/>
                  </a:lnTo>
                  <a:lnTo>
                    <a:pt x="112" y="3"/>
                  </a:lnTo>
                  <a:lnTo>
                    <a:pt x="122" y="4"/>
                  </a:lnTo>
                  <a:lnTo>
                    <a:pt x="130" y="7"/>
                  </a:lnTo>
                  <a:lnTo>
                    <a:pt x="137" y="11"/>
                  </a:lnTo>
                  <a:lnTo>
                    <a:pt x="146" y="15"/>
                  </a:lnTo>
                  <a:lnTo>
                    <a:pt x="153" y="21"/>
                  </a:lnTo>
                  <a:lnTo>
                    <a:pt x="158" y="28"/>
                  </a:lnTo>
                  <a:lnTo>
                    <a:pt x="158" y="28"/>
                  </a:lnTo>
                  <a:lnTo>
                    <a:pt x="164" y="35"/>
                  </a:lnTo>
                  <a:lnTo>
                    <a:pt x="170" y="42"/>
                  </a:lnTo>
                  <a:lnTo>
                    <a:pt x="174" y="50"/>
                  </a:lnTo>
                  <a:lnTo>
                    <a:pt x="177" y="60"/>
                  </a:lnTo>
                  <a:lnTo>
                    <a:pt x="179" y="69"/>
                  </a:lnTo>
                  <a:lnTo>
                    <a:pt x="182" y="80"/>
                  </a:lnTo>
                  <a:lnTo>
                    <a:pt x="184" y="101"/>
                  </a:lnTo>
                  <a:lnTo>
                    <a:pt x="0" y="1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716838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7EFD4-3505-44F6-80C9-65D06A482CB5}"/>
              </a:ext>
            </a:extLst>
          </p:cNvPr>
          <p:cNvSpPr>
            <a:spLocks noGrp="1"/>
          </p:cNvSpPr>
          <p:nvPr>
            <p:ph type="title"/>
          </p:nvPr>
        </p:nvSpPr>
        <p:spPr>
          <a:xfrm>
            <a:off x="473904" y="205364"/>
            <a:ext cx="10325100" cy="387790"/>
          </a:xfrm>
        </p:spPr>
        <p:txBody>
          <a:bodyPr/>
          <a:lstStyle/>
          <a:p>
            <a:r>
              <a:rPr lang="it-IT" dirty="0"/>
              <a:t>Architecture Overview</a:t>
            </a:r>
            <a:endParaRPr lang="en-US" dirty="0"/>
          </a:p>
        </p:txBody>
      </p:sp>
      <p:pic>
        <p:nvPicPr>
          <p:cNvPr id="5" name="Picture 4" descr="A screenshot of a computer&#10;&#10;Description automatically generated with low confidence">
            <a:extLst>
              <a:ext uri="{FF2B5EF4-FFF2-40B4-BE49-F238E27FC236}">
                <a16:creationId xmlns:a16="http://schemas.microsoft.com/office/drawing/2014/main" id="{3F9F1E73-AB63-45D9-BF3F-580ECECB9D84}"/>
              </a:ext>
            </a:extLst>
          </p:cNvPr>
          <p:cNvPicPr>
            <a:picLocks noChangeAspect="1"/>
          </p:cNvPicPr>
          <p:nvPr/>
        </p:nvPicPr>
        <p:blipFill>
          <a:blip r:embed="rId3"/>
          <a:stretch>
            <a:fillRect/>
          </a:stretch>
        </p:blipFill>
        <p:spPr>
          <a:xfrm>
            <a:off x="365263" y="685562"/>
            <a:ext cx="11461473" cy="5486876"/>
          </a:xfrm>
          <a:prstGeom prst="rect">
            <a:avLst/>
          </a:prstGeom>
        </p:spPr>
      </p:pic>
    </p:spTree>
    <p:extLst>
      <p:ext uri="{BB962C8B-B14F-4D97-AF65-F5344CB8AC3E}">
        <p14:creationId xmlns:p14="http://schemas.microsoft.com/office/powerpoint/2010/main" val="181561823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BB47-DBC7-4D63-876C-C8B764296FDF}"/>
              </a:ext>
            </a:extLst>
          </p:cNvPr>
          <p:cNvSpPr>
            <a:spLocks noGrp="1"/>
          </p:cNvSpPr>
          <p:nvPr>
            <p:ph type="body" sz="quarter" idx="21"/>
          </p:nvPr>
        </p:nvSpPr>
        <p:spPr>
          <a:xfrm>
            <a:off x="914400" y="1556232"/>
            <a:ext cx="3009900" cy="2190750"/>
          </a:xfrm>
        </p:spPr>
        <p:txBody>
          <a:bodyPr anchor="b">
            <a:normAutofit/>
          </a:bodyPr>
          <a:lstStyle/>
          <a:p>
            <a:r>
              <a:rPr lang="it-IT" dirty="0"/>
              <a:t>The underlying database</a:t>
            </a:r>
            <a:endParaRPr lang="en-US" dirty="0"/>
          </a:p>
        </p:txBody>
      </p:sp>
      <p:pic>
        <p:nvPicPr>
          <p:cNvPr id="4" name="Graphic 3">
            <a:extLst>
              <a:ext uri="{FF2B5EF4-FFF2-40B4-BE49-F238E27FC236}">
                <a16:creationId xmlns:a16="http://schemas.microsoft.com/office/drawing/2014/main" id="{B14D835F-6AE2-4848-A27C-1F789ADA1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3000" y="46378"/>
            <a:ext cx="7239000" cy="6765243"/>
          </a:xfrm>
          <a:prstGeom prst="rect">
            <a:avLst/>
          </a:prstGeom>
        </p:spPr>
      </p:pic>
    </p:spTree>
    <p:extLst>
      <p:ext uri="{BB962C8B-B14F-4D97-AF65-F5344CB8AC3E}">
        <p14:creationId xmlns:p14="http://schemas.microsoft.com/office/powerpoint/2010/main" val="224174472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DDCAD-DDBE-4D83-8126-30DB68EC8B00}"/>
              </a:ext>
            </a:extLst>
          </p:cNvPr>
          <p:cNvSpPr>
            <a:spLocks noGrp="1"/>
          </p:cNvSpPr>
          <p:nvPr>
            <p:ph type="title"/>
          </p:nvPr>
        </p:nvSpPr>
        <p:spPr>
          <a:xfrm>
            <a:off x="933450" y="0"/>
            <a:ext cx="10325100" cy="787400"/>
          </a:xfrm>
        </p:spPr>
        <p:txBody>
          <a:bodyPr/>
          <a:lstStyle/>
          <a:p>
            <a:r>
              <a:rPr lang="it-IT" dirty="0"/>
              <a:t>Back-End Architecture</a:t>
            </a:r>
            <a:endParaRPr lang="en-US" dirty="0"/>
          </a:p>
        </p:txBody>
      </p:sp>
      <p:pic>
        <p:nvPicPr>
          <p:cNvPr id="4" name="Picture 3" descr="Graphical user interface, application&#10;&#10;Description automatically generated">
            <a:extLst>
              <a:ext uri="{FF2B5EF4-FFF2-40B4-BE49-F238E27FC236}">
                <a16:creationId xmlns:a16="http://schemas.microsoft.com/office/drawing/2014/main" id="{7D0F24F9-9BF4-405D-908C-B6C9E47017F8}"/>
              </a:ext>
            </a:extLst>
          </p:cNvPr>
          <p:cNvPicPr>
            <a:picLocks noChangeAspect="1"/>
          </p:cNvPicPr>
          <p:nvPr/>
        </p:nvPicPr>
        <p:blipFill>
          <a:blip r:embed="rId3"/>
          <a:stretch>
            <a:fillRect/>
          </a:stretch>
        </p:blipFill>
        <p:spPr>
          <a:xfrm>
            <a:off x="1673352" y="934564"/>
            <a:ext cx="8845296" cy="5199888"/>
          </a:xfrm>
          <a:prstGeom prst="rect">
            <a:avLst/>
          </a:prstGeom>
        </p:spPr>
      </p:pic>
    </p:spTree>
    <p:extLst>
      <p:ext uri="{BB962C8B-B14F-4D97-AF65-F5344CB8AC3E}">
        <p14:creationId xmlns:p14="http://schemas.microsoft.com/office/powerpoint/2010/main" val="14457798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1C5EC34-DCC2-704E-AC18-660B0C1A1745}"/>
              </a:ext>
            </a:extLst>
          </p:cNvPr>
          <p:cNvPicPr>
            <a:picLocks noGrp="1" noChangeAspect="1"/>
          </p:cNvPicPr>
          <p:nvPr>
            <p:ph type="pic" sz="quarter" idx="12"/>
          </p:nvPr>
        </p:nvPicPr>
        <p:blipFill rotWithShape="1">
          <a:blip r:embed="rId5" cstate="email">
            <a:extLst>
              <a:ext uri="{28A0092B-C50C-407E-A947-70E740481C1C}">
                <a14:useLocalDpi xmlns:a14="http://schemas.microsoft.com/office/drawing/2010/main"/>
              </a:ext>
            </a:extLst>
          </a:blip>
          <a:srcRect l="52" r="52"/>
          <a:stretch/>
        </p:blipFill>
        <p:spPr>
          <a:prstGeom prst="rect">
            <a:avLst/>
          </a:prstGeom>
        </p:spPr>
      </p:pic>
      <p:sp>
        <p:nvSpPr>
          <p:cNvPr id="13" name="Text Placeholder 12">
            <a:extLst>
              <a:ext uri="{FF2B5EF4-FFF2-40B4-BE49-F238E27FC236}">
                <a16:creationId xmlns:a16="http://schemas.microsoft.com/office/drawing/2014/main" id="{84640765-7CE3-6D4B-AB74-6AFBA4A2D9CB}"/>
              </a:ext>
            </a:extLst>
          </p:cNvPr>
          <p:cNvSpPr>
            <a:spLocks noGrp="1"/>
          </p:cNvSpPr>
          <p:nvPr>
            <p:ph type="body" sz="quarter" idx="11"/>
          </p:nvPr>
        </p:nvSpPr>
        <p:spPr>
          <a:xfrm>
            <a:off x="0" y="3773170"/>
            <a:ext cx="4622800" cy="984885"/>
          </a:xfrm>
        </p:spPr>
        <p:txBody>
          <a:bodyPr/>
          <a:lstStyle/>
          <a:p>
            <a:r>
              <a:rPr lang="en-US" dirty="0"/>
              <a:t>Final Results</a:t>
            </a:r>
          </a:p>
        </p:txBody>
      </p:sp>
      <p:grpSp>
        <p:nvGrpSpPr>
          <p:cNvPr id="29" name="Group 28" descr="Deloitte Digital logo">
            <a:extLst>
              <a:ext uri="{FF2B5EF4-FFF2-40B4-BE49-F238E27FC236}">
                <a16:creationId xmlns:a16="http://schemas.microsoft.com/office/drawing/2014/main" id="{3CE88E4D-6FA5-4144-A373-090A38E735FC}"/>
              </a:ext>
            </a:extLst>
          </p:cNvPr>
          <p:cNvGrpSpPr>
            <a:grpSpLocks noChangeAspect="1"/>
          </p:cNvGrpSpPr>
          <p:nvPr/>
        </p:nvGrpSpPr>
        <p:grpSpPr bwMode="auto">
          <a:xfrm>
            <a:off x="977244" y="502998"/>
            <a:ext cx="821483" cy="153495"/>
            <a:chOff x="2684" y="1627"/>
            <a:chExt cx="2312" cy="432"/>
          </a:xfrm>
        </p:grpSpPr>
        <p:sp>
          <p:nvSpPr>
            <p:cNvPr id="30" name="Freeform 5">
              <a:extLst>
                <a:ext uri="{FF2B5EF4-FFF2-40B4-BE49-F238E27FC236}">
                  <a16:creationId xmlns:a16="http://schemas.microsoft.com/office/drawing/2014/main" id="{4951208B-43B2-4E70-9146-A5AC337D7829}"/>
                </a:ext>
              </a:extLst>
            </p:cNvPr>
            <p:cNvSpPr>
              <a:spLocks/>
            </p:cNvSpPr>
            <p:nvPr/>
          </p:nvSpPr>
          <p:spPr bwMode="auto">
            <a:xfrm>
              <a:off x="4873" y="1937"/>
              <a:ext cx="123" cy="122"/>
            </a:xfrm>
            <a:custGeom>
              <a:avLst/>
              <a:gdLst>
                <a:gd name="T0" fmla="*/ 0 w 245"/>
                <a:gd name="T1" fmla="*/ 123 h 245"/>
                <a:gd name="T2" fmla="*/ 3 w 245"/>
                <a:gd name="T3" fmla="*/ 98 h 245"/>
                <a:gd name="T4" fmla="*/ 10 w 245"/>
                <a:gd name="T5" fmla="*/ 75 h 245"/>
                <a:gd name="T6" fmla="*/ 21 w 245"/>
                <a:gd name="T7" fmla="*/ 54 h 245"/>
                <a:gd name="T8" fmla="*/ 36 w 245"/>
                <a:gd name="T9" fmla="*/ 36 h 245"/>
                <a:gd name="T10" fmla="*/ 54 w 245"/>
                <a:gd name="T11" fmla="*/ 21 h 245"/>
                <a:gd name="T12" fmla="*/ 75 w 245"/>
                <a:gd name="T13" fmla="*/ 9 h 245"/>
                <a:gd name="T14" fmla="*/ 98 w 245"/>
                <a:gd name="T15" fmla="*/ 2 h 245"/>
                <a:gd name="T16" fmla="*/ 123 w 245"/>
                <a:gd name="T17" fmla="*/ 0 h 245"/>
                <a:gd name="T18" fmla="*/ 134 w 245"/>
                <a:gd name="T19" fmla="*/ 1 h 245"/>
                <a:gd name="T20" fmla="*/ 160 w 245"/>
                <a:gd name="T21" fmla="*/ 5 h 245"/>
                <a:gd name="T22" fmla="*/ 181 w 245"/>
                <a:gd name="T23" fmla="*/ 15 h 245"/>
                <a:gd name="T24" fmla="*/ 200 w 245"/>
                <a:gd name="T25" fmla="*/ 28 h 245"/>
                <a:gd name="T26" fmla="*/ 217 w 245"/>
                <a:gd name="T27" fmla="*/ 44 h 245"/>
                <a:gd name="T28" fmla="*/ 230 w 245"/>
                <a:gd name="T29" fmla="*/ 64 h 245"/>
                <a:gd name="T30" fmla="*/ 239 w 245"/>
                <a:gd name="T31" fmla="*/ 86 h 245"/>
                <a:gd name="T32" fmla="*/ 245 w 245"/>
                <a:gd name="T33" fmla="*/ 110 h 245"/>
                <a:gd name="T34" fmla="*/ 245 w 245"/>
                <a:gd name="T35" fmla="*/ 123 h 245"/>
                <a:gd name="T36" fmla="*/ 242 w 245"/>
                <a:gd name="T37" fmla="*/ 147 h 245"/>
                <a:gd name="T38" fmla="*/ 235 w 245"/>
                <a:gd name="T39" fmla="*/ 171 h 245"/>
                <a:gd name="T40" fmla="*/ 224 w 245"/>
                <a:gd name="T41" fmla="*/ 192 h 245"/>
                <a:gd name="T42" fmla="*/ 209 w 245"/>
                <a:gd name="T43" fmla="*/ 210 h 245"/>
                <a:gd name="T44" fmla="*/ 190 w 245"/>
                <a:gd name="T45" fmla="*/ 224 h 245"/>
                <a:gd name="T46" fmla="*/ 171 w 245"/>
                <a:gd name="T47" fmla="*/ 235 h 245"/>
                <a:gd name="T48" fmla="*/ 147 w 245"/>
                <a:gd name="T49" fmla="*/ 242 h 245"/>
                <a:gd name="T50" fmla="*/ 123 w 245"/>
                <a:gd name="T51" fmla="*/ 245 h 245"/>
                <a:gd name="T52" fmla="*/ 110 w 245"/>
                <a:gd name="T53" fmla="*/ 245 h 245"/>
                <a:gd name="T54" fmla="*/ 87 w 245"/>
                <a:gd name="T55" fmla="*/ 239 h 245"/>
                <a:gd name="T56" fmla="*/ 64 w 245"/>
                <a:gd name="T57" fmla="*/ 231 h 245"/>
                <a:gd name="T58" fmla="*/ 45 w 245"/>
                <a:gd name="T59" fmla="*/ 217 h 245"/>
                <a:gd name="T60" fmla="*/ 28 w 245"/>
                <a:gd name="T61" fmla="*/ 200 h 245"/>
                <a:gd name="T62" fmla="*/ 15 w 245"/>
                <a:gd name="T63" fmla="*/ 180 h 245"/>
                <a:gd name="T64" fmla="*/ 5 w 245"/>
                <a:gd name="T65" fmla="*/ 159 h 245"/>
                <a:gd name="T66" fmla="*/ 1 w 245"/>
                <a:gd name="T67" fmla="*/ 1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5" h="245">
                  <a:moveTo>
                    <a:pt x="0" y="123"/>
                  </a:moveTo>
                  <a:lnTo>
                    <a:pt x="0" y="123"/>
                  </a:lnTo>
                  <a:lnTo>
                    <a:pt x="1" y="110"/>
                  </a:lnTo>
                  <a:lnTo>
                    <a:pt x="3" y="98"/>
                  </a:lnTo>
                  <a:lnTo>
                    <a:pt x="5" y="86"/>
                  </a:lnTo>
                  <a:lnTo>
                    <a:pt x="10" y="75"/>
                  </a:lnTo>
                  <a:lnTo>
                    <a:pt x="15" y="64"/>
                  </a:lnTo>
                  <a:lnTo>
                    <a:pt x="21" y="54"/>
                  </a:lnTo>
                  <a:lnTo>
                    <a:pt x="28" y="44"/>
                  </a:lnTo>
                  <a:lnTo>
                    <a:pt x="36" y="36"/>
                  </a:lnTo>
                  <a:lnTo>
                    <a:pt x="45" y="28"/>
                  </a:lnTo>
                  <a:lnTo>
                    <a:pt x="54" y="21"/>
                  </a:lnTo>
                  <a:lnTo>
                    <a:pt x="64" y="15"/>
                  </a:lnTo>
                  <a:lnTo>
                    <a:pt x="75" y="9"/>
                  </a:lnTo>
                  <a:lnTo>
                    <a:pt x="87" y="5"/>
                  </a:lnTo>
                  <a:lnTo>
                    <a:pt x="98" y="2"/>
                  </a:lnTo>
                  <a:lnTo>
                    <a:pt x="110" y="1"/>
                  </a:lnTo>
                  <a:lnTo>
                    <a:pt x="123" y="0"/>
                  </a:lnTo>
                  <a:lnTo>
                    <a:pt x="123" y="0"/>
                  </a:lnTo>
                  <a:lnTo>
                    <a:pt x="134" y="1"/>
                  </a:lnTo>
                  <a:lnTo>
                    <a:pt x="147" y="2"/>
                  </a:lnTo>
                  <a:lnTo>
                    <a:pt x="160" y="5"/>
                  </a:lnTo>
                  <a:lnTo>
                    <a:pt x="171" y="9"/>
                  </a:lnTo>
                  <a:lnTo>
                    <a:pt x="181" y="15"/>
                  </a:lnTo>
                  <a:lnTo>
                    <a:pt x="190" y="21"/>
                  </a:lnTo>
                  <a:lnTo>
                    <a:pt x="200" y="28"/>
                  </a:lnTo>
                  <a:lnTo>
                    <a:pt x="209" y="36"/>
                  </a:lnTo>
                  <a:lnTo>
                    <a:pt x="217" y="44"/>
                  </a:lnTo>
                  <a:lnTo>
                    <a:pt x="224" y="54"/>
                  </a:lnTo>
                  <a:lnTo>
                    <a:pt x="230" y="64"/>
                  </a:lnTo>
                  <a:lnTo>
                    <a:pt x="235" y="75"/>
                  </a:lnTo>
                  <a:lnTo>
                    <a:pt x="239" y="86"/>
                  </a:lnTo>
                  <a:lnTo>
                    <a:pt x="242" y="98"/>
                  </a:lnTo>
                  <a:lnTo>
                    <a:pt x="245" y="110"/>
                  </a:lnTo>
                  <a:lnTo>
                    <a:pt x="245" y="123"/>
                  </a:lnTo>
                  <a:lnTo>
                    <a:pt x="245" y="123"/>
                  </a:lnTo>
                  <a:lnTo>
                    <a:pt x="245" y="136"/>
                  </a:lnTo>
                  <a:lnTo>
                    <a:pt x="242" y="147"/>
                  </a:lnTo>
                  <a:lnTo>
                    <a:pt x="239" y="159"/>
                  </a:lnTo>
                  <a:lnTo>
                    <a:pt x="235" y="171"/>
                  </a:lnTo>
                  <a:lnTo>
                    <a:pt x="230" y="180"/>
                  </a:lnTo>
                  <a:lnTo>
                    <a:pt x="224" y="192"/>
                  </a:lnTo>
                  <a:lnTo>
                    <a:pt x="217" y="200"/>
                  </a:lnTo>
                  <a:lnTo>
                    <a:pt x="209" y="210"/>
                  </a:lnTo>
                  <a:lnTo>
                    <a:pt x="200" y="217"/>
                  </a:lnTo>
                  <a:lnTo>
                    <a:pt x="190" y="224"/>
                  </a:lnTo>
                  <a:lnTo>
                    <a:pt x="181" y="231"/>
                  </a:lnTo>
                  <a:lnTo>
                    <a:pt x="171" y="235"/>
                  </a:lnTo>
                  <a:lnTo>
                    <a:pt x="160" y="239"/>
                  </a:lnTo>
                  <a:lnTo>
                    <a:pt x="147" y="242"/>
                  </a:lnTo>
                  <a:lnTo>
                    <a:pt x="134" y="245"/>
                  </a:lnTo>
                  <a:lnTo>
                    <a:pt x="123" y="245"/>
                  </a:lnTo>
                  <a:lnTo>
                    <a:pt x="123" y="245"/>
                  </a:lnTo>
                  <a:lnTo>
                    <a:pt x="110" y="245"/>
                  </a:lnTo>
                  <a:lnTo>
                    <a:pt x="98" y="242"/>
                  </a:lnTo>
                  <a:lnTo>
                    <a:pt x="87" y="239"/>
                  </a:lnTo>
                  <a:lnTo>
                    <a:pt x="75" y="235"/>
                  </a:lnTo>
                  <a:lnTo>
                    <a:pt x="64" y="231"/>
                  </a:lnTo>
                  <a:lnTo>
                    <a:pt x="54" y="224"/>
                  </a:lnTo>
                  <a:lnTo>
                    <a:pt x="45" y="217"/>
                  </a:lnTo>
                  <a:lnTo>
                    <a:pt x="36" y="210"/>
                  </a:lnTo>
                  <a:lnTo>
                    <a:pt x="28" y="200"/>
                  </a:lnTo>
                  <a:lnTo>
                    <a:pt x="21" y="192"/>
                  </a:lnTo>
                  <a:lnTo>
                    <a:pt x="15" y="180"/>
                  </a:lnTo>
                  <a:lnTo>
                    <a:pt x="10" y="171"/>
                  </a:lnTo>
                  <a:lnTo>
                    <a:pt x="5" y="159"/>
                  </a:lnTo>
                  <a:lnTo>
                    <a:pt x="3" y="147"/>
                  </a:lnTo>
                  <a:lnTo>
                    <a:pt x="1" y="136"/>
                  </a:lnTo>
                  <a:lnTo>
                    <a:pt x="0" y="123"/>
                  </a:lnTo>
                  <a:close/>
                </a:path>
              </a:pathLst>
            </a:custGeom>
            <a:solidFill>
              <a:srgbClr val="75C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
              <a:extLst>
                <a:ext uri="{FF2B5EF4-FFF2-40B4-BE49-F238E27FC236}">
                  <a16:creationId xmlns:a16="http://schemas.microsoft.com/office/drawing/2014/main" id="{961D49E2-1936-416E-A8E7-60D784A31012}"/>
                </a:ext>
              </a:extLst>
            </p:cNvPr>
            <p:cNvSpPr>
              <a:spLocks/>
            </p:cNvSpPr>
            <p:nvPr/>
          </p:nvSpPr>
          <p:spPr bwMode="auto">
            <a:xfrm>
              <a:off x="4873" y="1937"/>
              <a:ext cx="123" cy="122"/>
            </a:xfrm>
            <a:custGeom>
              <a:avLst/>
              <a:gdLst>
                <a:gd name="T0" fmla="*/ 0 w 245"/>
                <a:gd name="T1" fmla="*/ 123 h 245"/>
                <a:gd name="T2" fmla="*/ 3 w 245"/>
                <a:gd name="T3" fmla="*/ 98 h 245"/>
                <a:gd name="T4" fmla="*/ 10 w 245"/>
                <a:gd name="T5" fmla="*/ 75 h 245"/>
                <a:gd name="T6" fmla="*/ 21 w 245"/>
                <a:gd name="T7" fmla="*/ 54 h 245"/>
                <a:gd name="T8" fmla="*/ 36 w 245"/>
                <a:gd name="T9" fmla="*/ 36 h 245"/>
                <a:gd name="T10" fmla="*/ 54 w 245"/>
                <a:gd name="T11" fmla="*/ 21 h 245"/>
                <a:gd name="T12" fmla="*/ 75 w 245"/>
                <a:gd name="T13" fmla="*/ 9 h 245"/>
                <a:gd name="T14" fmla="*/ 98 w 245"/>
                <a:gd name="T15" fmla="*/ 2 h 245"/>
                <a:gd name="T16" fmla="*/ 123 w 245"/>
                <a:gd name="T17" fmla="*/ 0 h 245"/>
                <a:gd name="T18" fmla="*/ 134 w 245"/>
                <a:gd name="T19" fmla="*/ 1 h 245"/>
                <a:gd name="T20" fmla="*/ 160 w 245"/>
                <a:gd name="T21" fmla="*/ 5 h 245"/>
                <a:gd name="T22" fmla="*/ 181 w 245"/>
                <a:gd name="T23" fmla="*/ 15 h 245"/>
                <a:gd name="T24" fmla="*/ 200 w 245"/>
                <a:gd name="T25" fmla="*/ 28 h 245"/>
                <a:gd name="T26" fmla="*/ 217 w 245"/>
                <a:gd name="T27" fmla="*/ 44 h 245"/>
                <a:gd name="T28" fmla="*/ 230 w 245"/>
                <a:gd name="T29" fmla="*/ 64 h 245"/>
                <a:gd name="T30" fmla="*/ 239 w 245"/>
                <a:gd name="T31" fmla="*/ 86 h 245"/>
                <a:gd name="T32" fmla="*/ 245 w 245"/>
                <a:gd name="T33" fmla="*/ 110 h 245"/>
                <a:gd name="T34" fmla="*/ 245 w 245"/>
                <a:gd name="T35" fmla="*/ 123 h 245"/>
                <a:gd name="T36" fmla="*/ 242 w 245"/>
                <a:gd name="T37" fmla="*/ 147 h 245"/>
                <a:gd name="T38" fmla="*/ 235 w 245"/>
                <a:gd name="T39" fmla="*/ 171 h 245"/>
                <a:gd name="T40" fmla="*/ 224 w 245"/>
                <a:gd name="T41" fmla="*/ 192 h 245"/>
                <a:gd name="T42" fmla="*/ 209 w 245"/>
                <a:gd name="T43" fmla="*/ 210 h 245"/>
                <a:gd name="T44" fmla="*/ 190 w 245"/>
                <a:gd name="T45" fmla="*/ 224 h 245"/>
                <a:gd name="T46" fmla="*/ 171 w 245"/>
                <a:gd name="T47" fmla="*/ 235 h 245"/>
                <a:gd name="T48" fmla="*/ 147 w 245"/>
                <a:gd name="T49" fmla="*/ 242 h 245"/>
                <a:gd name="T50" fmla="*/ 123 w 245"/>
                <a:gd name="T51" fmla="*/ 245 h 245"/>
                <a:gd name="T52" fmla="*/ 110 w 245"/>
                <a:gd name="T53" fmla="*/ 245 h 245"/>
                <a:gd name="T54" fmla="*/ 87 w 245"/>
                <a:gd name="T55" fmla="*/ 239 h 245"/>
                <a:gd name="T56" fmla="*/ 64 w 245"/>
                <a:gd name="T57" fmla="*/ 231 h 245"/>
                <a:gd name="T58" fmla="*/ 45 w 245"/>
                <a:gd name="T59" fmla="*/ 217 h 245"/>
                <a:gd name="T60" fmla="*/ 28 w 245"/>
                <a:gd name="T61" fmla="*/ 200 h 245"/>
                <a:gd name="T62" fmla="*/ 15 w 245"/>
                <a:gd name="T63" fmla="*/ 180 h 245"/>
                <a:gd name="T64" fmla="*/ 5 w 245"/>
                <a:gd name="T65" fmla="*/ 159 h 245"/>
                <a:gd name="T66" fmla="*/ 1 w 245"/>
                <a:gd name="T67" fmla="*/ 1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5" h="245">
                  <a:moveTo>
                    <a:pt x="0" y="123"/>
                  </a:moveTo>
                  <a:lnTo>
                    <a:pt x="0" y="123"/>
                  </a:lnTo>
                  <a:lnTo>
                    <a:pt x="1" y="110"/>
                  </a:lnTo>
                  <a:lnTo>
                    <a:pt x="3" y="98"/>
                  </a:lnTo>
                  <a:lnTo>
                    <a:pt x="5" y="86"/>
                  </a:lnTo>
                  <a:lnTo>
                    <a:pt x="10" y="75"/>
                  </a:lnTo>
                  <a:lnTo>
                    <a:pt x="15" y="64"/>
                  </a:lnTo>
                  <a:lnTo>
                    <a:pt x="21" y="54"/>
                  </a:lnTo>
                  <a:lnTo>
                    <a:pt x="28" y="44"/>
                  </a:lnTo>
                  <a:lnTo>
                    <a:pt x="36" y="36"/>
                  </a:lnTo>
                  <a:lnTo>
                    <a:pt x="45" y="28"/>
                  </a:lnTo>
                  <a:lnTo>
                    <a:pt x="54" y="21"/>
                  </a:lnTo>
                  <a:lnTo>
                    <a:pt x="64" y="15"/>
                  </a:lnTo>
                  <a:lnTo>
                    <a:pt x="75" y="9"/>
                  </a:lnTo>
                  <a:lnTo>
                    <a:pt x="87" y="5"/>
                  </a:lnTo>
                  <a:lnTo>
                    <a:pt x="98" y="2"/>
                  </a:lnTo>
                  <a:lnTo>
                    <a:pt x="110" y="1"/>
                  </a:lnTo>
                  <a:lnTo>
                    <a:pt x="123" y="0"/>
                  </a:lnTo>
                  <a:lnTo>
                    <a:pt x="123" y="0"/>
                  </a:lnTo>
                  <a:lnTo>
                    <a:pt x="134" y="1"/>
                  </a:lnTo>
                  <a:lnTo>
                    <a:pt x="147" y="2"/>
                  </a:lnTo>
                  <a:lnTo>
                    <a:pt x="160" y="5"/>
                  </a:lnTo>
                  <a:lnTo>
                    <a:pt x="171" y="9"/>
                  </a:lnTo>
                  <a:lnTo>
                    <a:pt x="181" y="15"/>
                  </a:lnTo>
                  <a:lnTo>
                    <a:pt x="190" y="21"/>
                  </a:lnTo>
                  <a:lnTo>
                    <a:pt x="200" y="28"/>
                  </a:lnTo>
                  <a:lnTo>
                    <a:pt x="209" y="36"/>
                  </a:lnTo>
                  <a:lnTo>
                    <a:pt x="217" y="44"/>
                  </a:lnTo>
                  <a:lnTo>
                    <a:pt x="224" y="54"/>
                  </a:lnTo>
                  <a:lnTo>
                    <a:pt x="230" y="64"/>
                  </a:lnTo>
                  <a:lnTo>
                    <a:pt x="235" y="75"/>
                  </a:lnTo>
                  <a:lnTo>
                    <a:pt x="239" y="86"/>
                  </a:lnTo>
                  <a:lnTo>
                    <a:pt x="242" y="98"/>
                  </a:lnTo>
                  <a:lnTo>
                    <a:pt x="245" y="110"/>
                  </a:lnTo>
                  <a:lnTo>
                    <a:pt x="245" y="123"/>
                  </a:lnTo>
                  <a:lnTo>
                    <a:pt x="245" y="123"/>
                  </a:lnTo>
                  <a:lnTo>
                    <a:pt x="245" y="136"/>
                  </a:lnTo>
                  <a:lnTo>
                    <a:pt x="242" y="147"/>
                  </a:lnTo>
                  <a:lnTo>
                    <a:pt x="239" y="159"/>
                  </a:lnTo>
                  <a:lnTo>
                    <a:pt x="235" y="171"/>
                  </a:lnTo>
                  <a:lnTo>
                    <a:pt x="230" y="180"/>
                  </a:lnTo>
                  <a:lnTo>
                    <a:pt x="224" y="192"/>
                  </a:lnTo>
                  <a:lnTo>
                    <a:pt x="217" y="200"/>
                  </a:lnTo>
                  <a:lnTo>
                    <a:pt x="209" y="210"/>
                  </a:lnTo>
                  <a:lnTo>
                    <a:pt x="200" y="217"/>
                  </a:lnTo>
                  <a:lnTo>
                    <a:pt x="190" y="224"/>
                  </a:lnTo>
                  <a:lnTo>
                    <a:pt x="181" y="231"/>
                  </a:lnTo>
                  <a:lnTo>
                    <a:pt x="171" y="235"/>
                  </a:lnTo>
                  <a:lnTo>
                    <a:pt x="160" y="239"/>
                  </a:lnTo>
                  <a:lnTo>
                    <a:pt x="147" y="242"/>
                  </a:lnTo>
                  <a:lnTo>
                    <a:pt x="134" y="245"/>
                  </a:lnTo>
                  <a:lnTo>
                    <a:pt x="123" y="245"/>
                  </a:lnTo>
                  <a:lnTo>
                    <a:pt x="123" y="245"/>
                  </a:lnTo>
                  <a:lnTo>
                    <a:pt x="110" y="245"/>
                  </a:lnTo>
                  <a:lnTo>
                    <a:pt x="98" y="242"/>
                  </a:lnTo>
                  <a:lnTo>
                    <a:pt x="87" y="239"/>
                  </a:lnTo>
                  <a:lnTo>
                    <a:pt x="75" y="235"/>
                  </a:lnTo>
                  <a:lnTo>
                    <a:pt x="64" y="231"/>
                  </a:lnTo>
                  <a:lnTo>
                    <a:pt x="54" y="224"/>
                  </a:lnTo>
                  <a:lnTo>
                    <a:pt x="45" y="217"/>
                  </a:lnTo>
                  <a:lnTo>
                    <a:pt x="36" y="210"/>
                  </a:lnTo>
                  <a:lnTo>
                    <a:pt x="28" y="200"/>
                  </a:lnTo>
                  <a:lnTo>
                    <a:pt x="21" y="192"/>
                  </a:lnTo>
                  <a:lnTo>
                    <a:pt x="15" y="180"/>
                  </a:lnTo>
                  <a:lnTo>
                    <a:pt x="10" y="171"/>
                  </a:lnTo>
                  <a:lnTo>
                    <a:pt x="5" y="159"/>
                  </a:lnTo>
                  <a:lnTo>
                    <a:pt x="3" y="147"/>
                  </a:lnTo>
                  <a:lnTo>
                    <a:pt x="1" y="136"/>
                  </a:lnTo>
                  <a:lnTo>
                    <a:pt x="0" y="1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a:extLst>
                <a:ext uri="{FF2B5EF4-FFF2-40B4-BE49-F238E27FC236}">
                  <a16:creationId xmlns:a16="http://schemas.microsoft.com/office/drawing/2014/main" id="{F9F74E51-DFB4-48D8-8E0B-FE2640E7330E}"/>
                </a:ext>
              </a:extLst>
            </p:cNvPr>
            <p:cNvSpPr>
              <a:spLocks noEditPoints="1"/>
            </p:cNvSpPr>
            <p:nvPr/>
          </p:nvSpPr>
          <p:spPr bwMode="auto">
            <a:xfrm>
              <a:off x="2684" y="1629"/>
              <a:ext cx="351" cy="423"/>
            </a:xfrm>
            <a:custGeom>
              <a:avLst/>
              <a:gdLst>
                <a:gd name="T0" fmla="*/ 702 w 702"/>
                <a:gd name="T1" fmla="*/ 405 h 847"/>
                <a:gd name="T2" fmla="*/ 699 w 702"/>
                <a:gd name="T3" fmla="*/ 457 h 847"/>
                <a:gd name="T4" fmla="*/ 695 w 702"/>
                <a:gd name="T5" fmla="*/ 506 h 847"/>
                <a:gd name="T6" fmla="*/ 685 w 702"/>
                <a:gd name="T7" fmla="*/ 551 h 847"/>
                <a:gd name="T8" fmla="*/ 673 w 702"/>
                <a:gd name="T9" fmla="*/ 593 h 847"/>
                <a:gd name="T10" fmla="*/ 657 w 702"/>
                <a:gd name="T11" fmla="*/ 632 h 847"/>
                <a:gd name="T12" fmla="*/ 638 w 702"/>
                <a:gd name="T13" fmla="*/ 669 h 847"/>
                <a:gd name="T14" fmla="*/ 614 w 702"/>
                <a:gd name="T15" fmla="*/ 702 h 847"/>
                <a:gd name="T16" fmla="*/ 587 w 702"/>
                <a:gd name="T17" fmla="*/ 733 h 847"/>
                <a:gd name="T18" fmla="*/ 573 w 702"/>
                <a:gd name="T19" fmla="*/ 746 h 847"/>
                <a:gd name="T20" fmla="*/ 542 w 702"/>
                <a:gd name="T21" fmla="*/ 771 h 847"/>
                <a:gd name="T22" fmla="*/ 507 w 702"/>
                <a:gd name="T23" fmla="*/ 794 h 847"/>
                <a:gd name="T24" fmla="*/ 471 w 702"/>
                <a:gd name="T25" fmla="*/ 812 h 847"/>
                <a:gd name="T26" fmla="*/ 430 w 702"/>
                <a:gd name="T27" fmla="*/ 826 h 847"/>
                <a:gd name="T28" fmla="*/ 387 w 702"/>
                <a:gd name="T29" fmla="*/ 836 h 847"/>
                <a:gd name="T30" fmla="*/ 342 w 702"/>
                <a:gd name="T31" fmla="*/ 844 h 847"/>
                <a:gd name="T32" fmla="*/ 293 w 702"/>
                <a:gd name="T33" fmla="*/ 847 h 847"/>
                <a:gd name="T34" fmla="*/ 0 w 702"/>
                <a:gd name="T35" fmla="*/ 847 h 847"/>
                <a:gd name="T36" fmla="*/ 286 w 702"/>
                <a:gd name="T37" fmla="*/ 0 h 847"/>
                <a:gd name="T38" fmla="*/ 334 w 702"/>
                <a:gd name="T39" fmla="*/ 2 h 847"/>
                <a:gd name="T40" fmla="*/ 380 w 702"/>
                <a:gd name="T41" fmla="*/ 6 h 847"/>
                <a:gd name="T42" fmla="*/ 422 w 702"/>
                <a:gd name="T43" fmla="*/ 14 h 847"/>
                <a:gd name="T44" fmla="*/ 463 w 702"/>
                <a:gd name="T45" fmla="*/ 25 h 847"/>
                <a:gd name="T46" fmla="*/ 499 w 702"/>
                <a:gd name="T47" fmla="*/ 41 h 847"/>
                <a:gd name="T48" fmla="*/ 534 w 702"/>
                <a:gd name="T49" fmla="*/ 59 h 847"/>
                <a:gd name="T50" fmla="*/ 565 w 702"/>
                <a:gd name="T51" fmla="*/ 80 h 847"/>
                <a:gd name="T52" fmla="*/ 593 w 702"/>
                <a:gd name="T53" fmla="*/ 104 h 847"/>
                <a:gd name="T54" fmla="*/ 607 w 702"/>
                <a:gd name="T55" fmla="*/ 118 h 847"/>
                <a:gd name="T56" fmla="*/ 631 w 702"/>
                <a:gd name="T57" fmla="*/ 146 h 847"/>
                <a:gd name="T58" fmla="*/ 650 w 702"/>
                <a:gd name="T59" fmla="*/ 178 h 847"/>
                <a:gd name="T60" fmla="*/ 667 w 702"/>
                <a:gd name="T61" fmla="*/ 213 h 847"/>
                <a:gd name="T62" fmla="*/ 681 w 702"/>
                <a:gd name="T63" fmla="*/ 251 h 847"/>
                <a:gd name="T64" fmla="*/ 691 w 702"/>
                <a:gd name="T65" fmla="*/ 292 h 847"/>
                <a:gd name="T66" fmla="*/ 698 w 702"/>
                <a:gd name="T67" fmla="*/ 335 h 847"/>
                <a:gd name="T68" fmla="*/ 701 w 702"/>
                <a:gd name="T69" fmla="*/ 381 h 847"/>
                <a:gd name="T70" fmla="*/ 470 w 702"/>
                <a:gd name="T71" fmla="*/ 414 h 847"/>
                <a:gd name="T72" fmla="*/ 470 w 702"/>
                <a:gd name="T73" fmla="*/ 386 h 847"/>
                <a:gd name="T74" fmla="*/ 464 w 702"/>
                <a:gd name="T75" fmla="*/ 335 h 847"/>
                <a:gd name="T76" fmla="*/ 453 w 702"/>
                <a:gd name="T77" fmla="*/ 292 h 847"/>
                <a:gd name="T78" fmla="*/ 436 w 702"/>
                <a:gd name="T79" fmla="*/ 257 h 847"/>
                <a:gd name="T80" fmla="*/ 425 w 702"/>
                <a:gd name="T81" fmla="*/ 241 h 847"/>
                <a:gd name="T82" fmla="*/ 399 w 702"/>
                <a:gd name="T83" fmla="*/ 216 h 847"/>
                <a:gd name="T84" fmla="*/ 369 w 702"/>
                <a:gd name="T85" fmla="*/ 199 h 847"/>
                <a:gd name="T86" fmla="*/ 331 w 702"/>
                <a:gd name="T87" fmla="*/ 188 h 847"/>
                <a:gd name="T88" fmla="*/ 289 w 702"/>
                <a:gd name="T89" fmla="*/ 185 h 847"/>
                <a:gd name="T90" fmla="*/ 223 w 702"/>
                <a:gd name="T91" fmla="*/ 659 h 847"/>
                <a:gd name="T92" fmla="*/ 273 w 702"/>
                <a:gd name="T93" fmla="*/ 659 h 847"/>
                <a:gd name="T94" fmla="*/ 321 w 702"/>
                <a:gd name="T95" fmla="*/ 656 h 847"/>
                <a:gd name="T96" fmla="*/ 362 w 702"/>
                <a:gd name="T97" fmla="*/ 645 h 847"/>
                <a:gd name="T98" fmla="*/ 395 w 702"/>
                <a:gd name="T99" fmla="*/ 625 h 847"/>
                <a:gd name="T100" fmla="*/ 422 w 702"/>
                <a:gd name="T101" fmla="*/ 599 h 847"/>
                <a:gd name="T102" fmla="*/ 433 w 702"/>
                <a:gd name="T103" fmla="*/ 583 h 847"/>
                <a:gd name="T104" fmla="*/ 451 w 702"/>
                <a:gd name="T105" fmla="*/ 544 h 847"/>
                <a:gd name="T106" fmla="*/ 463 w 702"/>
                <a:gd name="T107" fmla="*/ 498 h 847"/>
                <a:gd name="T108" fmla="*/ 470 w 702"/>
                <a:gd name="T109" fmla="*/ 44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847">
                  <a:moveTo>
                    <a:pt x="702" y="405"/>
                  </a:moveTo>
                  <a:lnTo>
                    <a:pt x="702" y="405"/>
                  </a:lnTo>
                  <a:lnTo>
                    <a:pt x="701" y="432"/>
                  </a:lnTo>
                  <a:lnTo>
                    <a:pt x="699" y="457"/>
                  </a:lnTo>
                  <a:lnTo>
                    <a:pt x="698" y="482"/>
                  </a:lnTo>
                  <a:lnTo>
                    <a:pt x="695" y="506"/>
                  </a:lnTo>
                  <a:lnTo>
                    <a:pt x="691" y="529"/>
                  </a:lnTo>
                  <a:lnTo>
                    <a:pt x="685" y="551"/>
                  </a:lnTo>
                  <a:lnTo>
                    <a:pt x="680" y="572"/>
                  </a:lnTo>
                  <a:lnTo>
                    <a:pt x="673" y="593"/>
                  </a:lnTo>
                  <a:lnTo>
                    <a:pt x="666" y="614"/>
                  </a:lnTo>
                  <a:lnTo>
                    <a:pt x="657" y="632"/>
                  </a:lnTo>
                  <a:lnTo>
                    <a:pt x="648" y="652"/>
                  </a:lnTo>
                  <a:lnTo>
                    <a:pt x="638" y="669"/>
                  </a:lnTo>
                  <a:lnTo>
                    <a:pt x="627" y="686"/>
                  </a:lnTo>
                  <a:lnTo>
                    <a:pt x="614" y="702"/>
                  </a:lnTo>
                  <a:lnTo>
                    <a:pt x="601" y="718"/>
                  </a:lnTo>
                  <a:lnTo>
                    <a:pt x="587" y="733"/>
                  </a:lnTo>
                  <a:lnTo>
                    <a:pt x="587" y="733"/>
                  </a:lnTo>
                  <a:lnTo>
                    <a:pt x="573" y="746"/>
                  </a:lnTo>
                  <a:lnTo>
                    <a:pt x="558" y="760"/>
                  </a:lnTo>
                  <a:lnTo>
                    <a:pt x="542" y="771"/>
                  </a:lnTo>
                  <a:lnTo>
                    <a:pt x="526" y="782"/>
                  </a:lnTo>
                  <a:lnTo>
                    <a:pt x="507" y="794"/>
                  </a:lnTo>
                  <a:lnTo>
                    <a:pt x="489" y="802"/>
                  </a:lnTo>
                  <a:lnTo>
                    <a:pt x="471" y="812"/>
                  </a:lnTo>
                  <a:lnTo>
                    <a:pt x="450" y="819"/>
                  </a:lnTo>
                  <a:lnTo>
                    <a:pt x="430" y="826"/>
                  </a:lnTo>
                  <a:lnTo>
                    <a:pt x="409" y="831"/>
                  </a:lnTo>
                  <a:lnTo>
                    <a:pt x="387" y="836"/>
                  </a:lnTo>
                  <a:lnTo>
                    <a:pt x="364" y="840"/>
                  </a:lnTo>
                  <a:lnTo>
                    <a:pt x="342" y="844"/>
                  </a:lnTo>
                  <a:lnTo>
                    <a:pt x="317" y="845"/>
                  </a:lnTo>
                  <a:lnTo>
                    <a:pt x="293" y="847"/>
                  </a:lnTo>
                  <a:lnTo>
                    <a:pt x="268" y="847"/>
                  </a:lnTo>
                  <a:lnTo>
                    <a:pt x="0" y="847"/>
                  </a:lnTo>
                  <a:lnTo>
                    <a:pt x="0" y="0"/>
                  </a:lnTo>
                  <a:lnTo>
                    <a:pt x="286" y="0"/>
                  </a:lnTo>
                  <a:lnTo>
                    <a:pt x="286" y="0"/>
                  </a:lnTo>
                  <a:lnTo>
                    <a:pt x="334" y="2"/>
                  </a:lnTo>
                  <a:lnTo>
                    <a:pt x="357" y="3"/>
                  </a:lnTo>
                  <a:lnTo>
                    <a:pt x="380" y="6"/>
                  </a:lnTo>
                  <a:lnTo>
                    <a:pt x="401" y="10"/>
                  </a:lnTo>
                  <a:lnTo>
                    <a:pt x="422" y="14"/>
                  </a:lnTo>
                  <a:lnTo>
                    <a:pt x="443" y="20"/>
                  </a:lnTo>
                  <a:lnTo>
                    <a:pt x="463" y="25"/>
                  </a:lnTo>
                  <a:lnTo>
                    <a:pt x="481" y="32"/>
                  </a:lnTo>
                  <a:lnTo>
                    <a:pt x="499" y="41"/>
                  </a:lnTo>
                  <a:lnTo>
                    <a:pt x="517" y="49"/>
                  </a:lnTo>
                  <a:lnTo>
                    <a:pt x="534" y="59"/>
                  </a:lnTo>
                  <a:lnTo>
                    <a:pt x="549" y="69"/>
                  </a:lnTo>
                  <a:lnTo>
                    <a:pt x="565" y="80"/>
                  </a:lnTo>
                  <a:lnTo>
                    <a:pt x="580" y="91"/>
                  </a:lnTo>
                  <a:lnTo>
                    <a:pt x="593" y="104"/>
                  </a:lnTo>
                  <a:lnTo>
                    <a:pt x="593" y="104"/>
                  </a:lnTo>
                  <a:lnTo>
                    <a:pt x="607" y="118"/>
                  </a:lnTo>
                  <a:lnTo>
                    <a:pt x="620" y="132"/>
                  </a:lnTo>
                  <a:lnTo>
                    <a:pt x="631" y="146"/>
                  </a:lnTo>
                  <a:lnTo>
                    <a:pt x="641" y="163"/>
                  </a:lnTo>
                  <a:lnTo>
                    <a:pt x="650" y="178"/>
                  </a:lnTo>
                  <a:lnTo>
                    <a:pt x="660" y="195"/>
                  </a:lnTo>
                  <a:lnTo>
                    <a:pt x="667" y="213"/>
                  </a:lnTo>
                  <a:lnTo>
                    <a:pt x="674" y="231"/>
                  </a:lnTo>
                  <a:lnTo>
                    <a:pt x="681" y="251"/>
                  </a:lnTo>
                  <a:lnTo>
                    <a:pt x="687" y="271"/>
                  </a:lnTo>
                  <a:lnTo>
                    <a:pt x="691" y="292"/>
                  </a:lnTo>
                  <a:lnTo>
                    <a:pt x="695" y="313"/>
                  </a:lnTo>
                  <a:lnTo>
                    <a:pt x="698" y="335"/>
                  </a:lnTo>
                  <a:lnTo>
                    <a:pt x="701" y="358"/>
                  </a:lnTo>
                  <a:lnTo>
                    <a:pt x="701" y="381"/>
                  </a:lnTo>
                  <a:lnTo>
                    <a:pt x="702" y="405"/>
                  </a:lnTo>
                  <a:close/>
                  <a:moveTo>
                    <a:pt x="470" y="414"/>
                  </a:moveTo>
                  <a:lnTo>
                    <a:pt x="470" y="414"/>
                  </a:lnTo>
                  <a:lnTo>
                    <a:pt x="470" y="386"/>
                  </a:lnTo>
                  <a:lnTo>
                    <a:pt x="467" y="359"/>
                  </a:lnTo>
                  <a:lnTo>
                    <a:pt x="464" y="335"/>
                  </a:lnTo>
                  <a:lnTo>
                    <a:pt x="458" y="313"/>
                  </a:lnTo>
                  <a:lnTo>
                    <a:pt x="453" y="292"/>
                  </a:lnTo>
                  <a:lnTo>
                    <a:pt x="444" y="274"/>
                  </a:lnTo>
                  <a:lnTo>
                    <a:pt x="436" y="257"/>
                  </a:lnTo>
                  <a:lnTo>
                    <a:pt x="425" y="241"/>
                  </a:lnTo>
                  <a:lnTo>
                    <a:pt x="425" y="241"/>
                  </a:lnTo>
                  <a:lnTo>
                    <a:pt x="413" y="227"/>
                  </a:lnTo>
                  <a:lnTo>
                    <a:pt x="399" y="216"/>
                  </a:lnTo>
                  <a:lnTo>
                    <a:pt x="384" y="206"/>
                  </a:lnTo>
                  <a:lnTo>
                    <a:pt x="369" y="199"/>
                  </a:lnTo>
                  <a:lnTo>
                    <a:pt x="350" y="192"/>
                  </a:lnTo>
                  <a:lnTo>
                    <a:pt x="331" y="188"/>
                  </a:lnTo>
                  <a:lnTo>
                    <a:pt x="310" y="185"/>
                  </a:lnTo>
                  <a:lnTo>
                    <a:pt x="289" y="185"/>
                  </a:lnTo>
                  <a:lnTo>
                    <a:pt x="223" y="185"/>
                  </a:lnTo>
                  <a:lnTo>
                    <a:pt x="223" y="659"/>
                  </a:lnTo>
                  <a:lnTo>
                    <a:pt x="273" y="659"/>
                  </a:lnTo>
                  <a:lnTo>
                    <a:pt x="273" y="659"/>
                  </a:lnTo>
                  <a:lnTo>
                    <a:pt x="297" y="659"/>
                  </a:lnTo>
                  <a:lnTo>
                    <a:pt x="321" y="656"/>
                  </a:lnTo>
                  <a:lnTo>
                    <a:pt x="342" y="651"/>
                  </a:lnTo>
                  <a:lnTo>
                    <a:pt x="362" y="645"/>
                  </a:lnTo>
                  <a:lnTo>
                    <a:pt x="378" y="637"/>
                  </a:lnTo>
                  <a:lnTo>
                    <a:pt x="395" y="625"/>
                  </a:lnTo>
                  <a:lnTo>
                    <a:pt x="409" y="613"/>
                  </a:lnTo>
                  <a:lnTo>
                    <a:pt x="422" y="599"/>
                  </a:lnTo>
                  <a:lnTo>
                    <a:pt x="422" y="599"/>
                  </a:lnTo>
                  <a:lnTo>
                    <a:pt x="433" y="583"/>
                  </a:lnTo>
                  <a:lnTo>
                    <a:pt x="443" y="565"/>
                  </a:lnTo>
                  <a:lnTo>
                    <a:pt x="451" y="544"/>
                  </a:lnTo>
                  <a:lnTo>
                    <a:pt x="458" y="523"/>
                  </a:lnTo>
                  <a:lnTo>
                    <a:pt x="463" y="498"/>
                  </a:lnTo>
                  <a:lnTo>
                    <a:pt x="467" y="473"/>
                  </a:lnTo>
                  <a:lnTo>
                    <a:pt x="470" y="445"/>
                  </a:lnTo>
                  <a:lnTo>
                    <a:pt x="470" y="4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a:extLst>
                <a:ext uri="{FF2B5EF4-FFF2-40B4-BE49-F238E27FC236}">
                  <a16:creationId xmlns:a16="http://schemas.microsoft.com/office/drawing/2014/main" id="{8F490965-344D-4F29-BAE8-ED995723C591}"/>
                </a:ext>
              </a:extLst>
            </p:cNvPr>
            <p:cNvSpPr>
              <a:spLocks/>
            </p:cNvSpPr>
            <p:nvPr/>
          </p:nvSpPr>
          <p:spPr bwMode="auto">
            <a:xfrm>
              <a:off x="2684" y="1629"/>
              <a:ext cx="351" cy="423"/>
            </a:xfrm>
            <a:custGeom>
              <a:avLst/>
              <a:gdLst>
                <a:gd name="T0" fmla="*/ 702 w 702"/>
                <a:gd name="T1" fmla="*/ 405 h 847"/>
                <a:gd name="T2" fmla="*/ 699 w 702"/>
                <a:gd name="T3" fmla="*/ 457 h 847"/>
                <a:gd name="T4" fmla="*/ 695 w 702"/>
                <a:gd name="T5" fmla="*/ 506 h 847"/>
                <a:gd name="T6" fmla="*/ 685 w 702"/>
                <a:gd name="T7" fmla="*/ 551 h 847"/>
                <a:gd name="T8" fmla="*/ 673 w 702"/>
                <a:gd name="T9" fmla="*/ 593 h 847"/>
                <a:gd name="T10" fmla="*/ 657 w 702"/>
                <a:gd name="T11" fmla="*/ 632 h 847"/>
                <a:gd name="T12" fmla="*/ 638 w 702"/>
                <a:gd name="T13" fmla="*/ 669 h 847"/>
                <a:gd name="T14" fmla="*/ 614 w 702"/>
                <a:gd name="T15" fmla="*/ 702 h 847"/>
                <a:gd name="T16" fmla="*/ 587 w 702"/>
                <a:gd name="T17" fmla="*/ 733 h 847"/>
                <a:gd name="T18" fmla="*/ 573 w 702"/>
                <a:gd name="T19" fmla="*/ 746 h 847"/>
                <a:gd name="T20" fmla="*/ 542 w 702"/>
                <a:gd name="T21" fmla="*/ 771 h 847"/>
                <a:gd name="T22" fmla="*/ 507 w 702"/>
                <a:gd name="T23" fmla="*/ 794 h 847"/>
                <a:gd name="T24" fmla="*/ 471 w 702"/>
                <a:gd name="T25" fmla="*/ 812 h 847"/>
                <a:gd name="T26" fmla="*/ 430 w 702"/>
                <a:gd name="T27" fmla="*/ 826 h 847"/>
                <a:gd name="T28" fmla="*/ 387 w 702"/>
                <a:gd name="T29" fmla="*/ 836 h 847"/>
                <a:gd name="T30" fmla="*/ 342 w 702"/>
                <a:gd name="T31" fmla="*/ 844 h 847"/>
                <a:gd name="T32" fmla="*/ 293 w 702"/>
                <a:gd name="T33" fmla="*/ 847 h 847"/>
                <a:gd name="T34" fmla="*/ 0 w 702"/>
                <a:gd name="T35" fmla="*/ 847 h 847"/>
                <a:gd name="T36" fmla="*/ 286 w 702"/>
                <a:gd name="T37" fmla="*/ 0 h 847"/>
                <a:gd name="T38" fmla="*/ 334 w 702"/>
                <a:gd name="T39" fmla="*/ 2 h 847"/>
                <a:gd name="T40" fmla="*/ 380 w 702"/>
                <a:gd name="T41" fmla="*/ 6 h 847"/>
                <a:gd name="T42" fmla="*/ 422 w 702"/>
                <a:gd name="T43" fmla="*/ 14 h 847"/>
                <a:gd name="T44" fmla="*/ 463 w 702"/>
                <a:gd name="T45" fmla="*/ 25 h 847"/>
                <a:gd name="T46" fmla="*/ 499 w 702"/>
                <a:gd name="T47" fmla="*/ 41 h 847"/>
                <a:gd name="T48" fmla="*/ 534 w 702"/>
                <a:gd name="T49" fmla="*/ 59 h 847"/>
                <a:gd name="T50" fmla="*/ 565 w 702"/>
                <a:gd name="T51" fmla="*/ 80 h 847"/>
                <a:gd name="T52" fmla="*/ 593 w 702"/>
                <a:gd name="T53" fmla="*/ 104 h 847"/>
                <a:gd name="T54" fmla="*/ 607 w 702"/>
                <a:gd name="T55" fmla="*/ 118 h 847"/>
                <a:gd name="T56" fmla="*/ 631 w 702"/>
                <a:gd name="T57" fmla="*/ 146 h 847"/>
                <a:gd name="T58" fmla="*/ 650 w 702"/>
                <a:gd name="T59" fmla="*/ 178 h 847"/>
                <a:gd name="T60" fmla="*/ 667 w 702"/>
                <a:gd name="T61" fmla="*/ 213 h 847"/>
                <a:gd name="T62" fmla="*/ 681 w 702"/>
                <a:gd name="T63" fmla="*/ 251 h 847"/>
                <a:gd name="T64" fmla="*/ 691 w 702"/>
                <a:gd name="T65" fmla="*/ 292 h 847"/>
                <a:gd name="T66" fmla="*/ 698 w 702"/>
                <a:gd name="T67" fmla="*/ 335 h 847"/>
                <a:gd name="T68" fmla="*/ 701 w 702"/>
                <a:gd name="T69" fmla="*/ 381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2" h="847">
                  <a:moveTo>
                    <a:pt x="702" y="405"/>
                  </a:moveTo>
                  <a:lnTo>
                    <a:pt x="702" y="405"/>
                  </a:lnTo>
                  <a:lnTo>
                    <a:pt x="701" y="432"/>
                  </a:lnTo>
                  <a:lnTo>
                    <a:pt x="699" y="457"/>
                  </a:lnTo>
                  <a:lnTo>
                    <a:pt x="698" y="482"/>
                  </a:lnTo>
                  <a:lnTo>
                    <a:pt x="695" y="506"/>
                  </a:lnTo>
                  <a:lnTo>
                    <a:pt x="691" y="529"/>
                  </a:lnTo>
                  <a:lnTo>
                    <a:pt x="685" y="551"/>
                  </a:lnTo>
                  <a:lnTo>
                    <a:pt x="680" y="572"/>
                  </a:lnTo>
                  <a:lnTo>
                    <a:pt x="673" y="593"/>
                  </a:lnTo>
                  <a:lnTo>
                    <a:pt x="666" y="614"/>
                  </a:lnTo>
                  <a:lnTo>
                    <a:pt x="657" y="632"/>
                  </a:lnTo>
                  <a:lnTo>
                    <a:pt x="648" y="652"/>
                  </a:lnTo>
                  <a:lnTo>
                    <a:pt x="638" y="669"/>
                  </a:lnTo>
                  <a:lnTo>
                    <a:pt x="627" y="686"/>
                  </a:lnTo>
                  <a:lnTo>
                    <a:pt x="614" y="702"/>
                  </a:lnTo>
                  <a:lnTo>
                    <a:pt x="601" y="718"/>
                  </a:lnTo>
                  <a:lnTo>
                    <a:pt x="587" y="733"/>
                  </a:lnTo>
                  <a:lnTo>
                    <a:pt x="587" y="733"/>
                  </a:lnTo>
                  <a:lnTo>
                    <a:pt x="573" y="746"/>
                  </a:lnTo>
                  <a:lnTo>
                    <a:pt x="558" y="760"/>
                  </a:lnTo>
                  <a:lnTo>
                    <a:pt x="542" y="771"/>
                  </a:lnTo>
                  <a:lnTo>
                    <a:pt x="526" y="782"/>
                  </a:lnTo>
                  <a:lnTo>
                    <a:pt x="507" y="794"/>
                  </a:lnTo>
                  <a:lnTo>
                    <a:pt x="489" y="802"/>
                  </a:lnTo>
                  <a:lnTo>
                    <a:pt x="471" y="812"/>
                  </a:lnTo>
                  <a:lnTo>
                    <a:pt x="450" y="819"/>
                  </a:lnTo>
                  <a:lnTo>
                    <a:pt x="430" y="826"/>
                  </a:lnTo>
                  <a:lnTo>
                    <a:pt x="409" y="831"/>
                  </a:lnTo>
                  <a:lnTo>
                    <a:pt x="387" y="836"/>
                  </a:lnTo>
                  <a:lnTo>
                    <a:pt x="364" y="840"/>
                  </a:lnTo>
                  <a:lnTo>
                    <a:pt x="342" y="844"/>
                  </a:lnTo>
                  <a:lnTo>
                    <a:pt x="317" y="845"/>
                  </a:lnTo>
                  <a:lnTo>
                    <a:pt x="293" y="847"/>
                  </a:lnTo>
                  <a:lnTo>
                    <a:pt x="268" y="847"/>
                  </a:lnTo>
                  <a:lnTo>
                    <a:pt x="0" y="847"/>
                  </a:lnTo>
                  <a:lnTo>
                    <a:pt x="0" y="0"/>
                  </a:lnTo>
                  <a:lnTo>
                    <a:pt x="286" y="0"/>
                  </a:lnTo>
                  <a:lnTo>
                    <a:pt x="286" y="0"/>
                  </a:lnTo>
                  <a:lnTo>
                    <a:pt x="334" y="2"/>
                  </a:lnTo>
                  <a:lnTo>
                    <a:pt x="357" y="3"/>
                  </a:lnTo>
                  <a:lnTo>
                    <a:pt x="380" y="6"/>
                  </a:lnTo>
                  <a:lnTo>
                    <a:pt x="401" y="10"/>
                  </a:lnTo>
                  <a:lnTo>
                    <a:pt x="422" y="14"/>
                  </a:lnTo>
                  <a:lnTo>
                    <a:pt x="443" y="20"/>
                  </a:lnTo>
                  <a:lnTo>
                    <a:pt x="463" y="25"/>
                  </a:lnTo>
                  <a:lnTo>
                    <a:pt x="481" y="32"/>
                  </a:lnTo>
                  <a:lnTo>
                    <a:pt x="499" y="41"/>
                  </a:lnTo>
                  <a:lnTo>
                    <a:pt x="517" y="49"/>
                  </a:lnTo>
                  <a:lnTo>
                    <a:pt x="534" y="59"/>
                  </a:lnTo>
                  <a:lnTo>
                    <a:pt x="549" y="69"/>
                  </a:lnTo>
                  <a:lnTo>
                    <a:pt x="565" y="80"/>
                  </a:lnTo>
                  <a:lnTo>
                    <a:pt x="580" y="91"/>
                  </a:lnTo>
                  <a:lnTo>
                    <a:pt x="593" y="104"/>
                  </a:lnTo>
                  <a:lnTo>
                    <a:pt x="593" y="104"/>
                  </a:lnTo>
                  <a:lnTo>
                    <a:pt x="607" y="118"/>
                  </a:lnTo>
                  <a:lnTo>
                    <a:pt x="620" y="132"/>
                  </a:lnTo>
                  <a:lnTo>
                    <a:pt x="631" y="146"/>
                  </a:lnTo>
                  <a:lnTo>
                    <a:pt x="641" y="163"/>
                  </a:lnTo>
                  <a:lnTo>
                    <a:pt x="650" y="178"/>
                  </a:lnTo>
                  <a:lnTo>
                    <a:pt x="660" y="195"/>
                  </a:lnTo>
                  <a:lnTo>
                    <a:pt x="667" y="213"/>
                  </a:lnTo>
                  <a:lnTo>
                    <a:pt x="674" y="231"/>
                  </a:lnTo>
                  <a:lnTo>
                    <a:pt x="681" y="251"/>
                  </a:lnTo>
                  <a:lnTo>
                    <a:pt x="687" y="271"/>
                  </a:lnTo>
                  <a:lnTo>
                    <a:pt x="691" y="292"/>
                  </a:lnTo>
                  <a:lnTo>
                    <a:pt x="695" y="313"/>
                  </a:lnTo>
                  <a:lnTo>
                    <a:pt x="698" y="335"/>
                  </a:lnTo>
                  <a:lnTo>
                    <a:pt x="701" y="358"/>
                  </a:lnTo>
                  <a:lnTo>
                    <a:pt x="701" y="381"/>
                  </a:lnTo>
                  <a:lnTo>
                    <a:pt x="702" y="40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a:extLst>
                <a:ext uri="{FF2B5EF4-FFF2-40B4-BE49-F238E27FC236}">
                  <a16:creationId xmlns:a16="http://schemas.microsoft.com/office/drawing/2014/main" id="{419766E6-8C0B-461E-93B0-F9D5CB7DE985}"/>
                </a:ext>
              </a:extLst>
            </p:cNvPr>
            <p:cNvSpPr>
              <a:spLocks/>
            </p:cNvSpPr>
            <p:nvPr/>
          </p:nvSpPr>
          <p:spPr bwMode="auto">
            <a:xfrm>
              <a:off x="2795" y="1722"/>
              <a:ext cx="124" cy="237"/>
            </a:xfrm>
            <a:custGeom>
              <a:avLst/>
              <a:gdLst>
                <a:gd name="T0" fmla="*/ 247 w 247"/>
                <a:gd name="T1" fmla="*/ 229 h 474"/>
                <a:gd name="T2" fmla="*/ 247 w 247"/>
                <a:gd name="T3" fmla="*/ 229 h 474"/>
                <a:gd name="T4" fmla="*/ 247 w 247"/>
                <a:gd name="T5" fmla="*/ 201 h 474"/>
                <a:gd name="T6" fmla="*/ 244 w 247"/>
                <a:gd name="T7" fmla="*/ 174 h 474"/>
                <a:gd name="T8" fmla="*/ 241 w 247"/>
                <a:gd name="T9" fmla="*/ 150 h 474"/>
                <a:gd name="T10" fmla="*/ 235 w 247"/>
                <a:gd name="T11" fmla="*/ 128 h 474"/>
                <a:gd name="T12" fmla="*/ 230 w 247"/>
                <a:gd name="T13" fmla="*/ 107 h 474"/>
                <a:gd name="T14" fmla="*/ 221 w 247"/>
                <a:gd name="T15" fmla="*/ 89 h 474"/>
                <a:gd name="T16" fmla="*/ 213 w 247"/>
                <a:gd name="T17" fmla="*/ 72 h 474"/>
                <a:gd name="T18" fmla="*/ 202 w 247"/>
                <a:gd name="T19" fmla="*/ 56 h 474"/>
                <a:gd name="T20" fmla="*/ 202 w 247"/>
                <a:gd name="T21" fmla="*/ 56 h 474"/>
                <a:gd name="T22" fmla="*/ 190 w 247"/>
                <a:gd name="T23" fmla="*/ 42 h 474"/>
                <a:gd name="T24" fmla="*/ 176 w 247"/>
                <a:gd name="T25" fmla="*/ 31 h 474"/>
                <a:gd name="T26" fmla="*/ 161 w 247"/>
                <a:gd name="T27" fmla="*/ 21 h 474"/>
                <a:gd name="T28" fmla="*/ 146 w 247"/>
                <a:gd name="T29" fmla="*/ 14 h 474"/>
                <a:gd name="T30" fmla="*/ 127 w 247"/>
                <a:gd name="T31" fmla="*/ 7 h 474"/>
                <a:gd name="T32" fmla="*/ 108 w 247"/>
                <a:gd name="T33" fmla="*/ 3 h 474"/>
                <a:gd name="T34" fmla="*/ 87 w 247"/>
                <a:gd name="T35" fmla="*/ 0 h 474"/>
                <a:gd name="T36" fmla="*/ 66 w 247"/>
                <a:gd name="T37" fmla="*/ 0 h 474"/>
                <a:gd name="T38" fmla="*/ 0 w 247"/>
                <a:gd name="T39" fmla="*/ 0 h 474"/>
                <a:gd name="T40" fmla="*/ 0 w 247"/>
                <a:gd name="T41" fmla="*/ 474 h 474"/>
                <a:gd name="T42" fmla="*/ 50 w 247"/>
                <a:gd name="T43" fmla="*/ 474 h 474"/>
                <a:gd name="T44" fmla="*/ 50 w 247"/>
                <a:gd name="T45" fmla="*/ 474 h 474"/>
                <a:gd name="T46" fmla="*/ 74 w 247"/>
                <a:gd name="T47" fmla="*/ 474 h 474"/>
                <a:gd name="T48" fmla="*/ 98 w 247"/>
                <a:gd name="T49" fmla="*/ 471 h 474"/>
                <a:gd name="T50" fmla="*/ 119 w 247"/>
                <a:gd name="T51" fmla="*/ 466 h 474"/>
                <a:gd name="T52" fmla="*/ 139 w 247"/>
                <a:gd name="T53" fmla="*/ 460 h 474"/>
                <a:gd name="T54" fmla="*/ 155 w 247"/>
                <a:gd name="T55" fmla="*/ 452 h 474"/>
                <a:gd name="T56" fmla="*/ 172 w 247"/>
                <a:gd name="T57" fmla="*/ 440 h 474"/>
                <a:gd name="T58" fmla="*/ 186 w 247"/>
                <a:gd name="T59" fmla="*/ 428 h 474"/>
                <a:gd name="T60" fmla="*/ 199 w 247"/>
                <a:gd name="T61" fmla="*/ 414 h 474"/>
                <a:gd name="T62" fmla="*/ 199 w 247"/>
                <a:gd name="T63" fmla="*/ 414 h 474"/>
                <a:gd name="T64" fmla="*/ 210 w 247"/>
                <a:gd name="T65" fmla="*/ 398 h 474"/>
                <a:gd name="T66" fmla="*/ 220 w 247"/>
                <a:gd name="T67" fmla="*/ 380 h 474"/>
                <a:gd name="T68" fmla="*/ 228 w 247"/>
                <a:gd name="T69" fmla="*/ 359 h 474"/>
                <a:gd name="T70" fmla="*/ 235 w 247"/>
                <a:gd name="T71" fmla="*/ 338 h 474"/>
                <a:gd name="T72" fmla="*/ 240 w 247"/>
                <a:gd name="T73" fmla="*/ 313 h 474"/>
                <a:gd name="T74" fmla="*/ 244 w 247"/>
                <a:gd name="T75" fmla="*/ 288 h 474"/>
                <a:gd name="T76" fmla="*/ 247 w 247"/>
                <a:gd name="T77" fmla="*/ 260 h 474"/>
                <a:gd name="T78" fmla="*/ 247 w 247"/>
                <a:gd name="T79" fmla="*/ 229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7" h="474">
                  <a:moveTo>
                    <a:pt x="247" y="229"/>
                  </a:moveTo>
                  <a:lnTo>
                    <a:pt x="247" y="229"/>
                  </a:lnTo>
                  <a:lnTo>
                    <a:pt x="247" y="201"/>
                  </a:lnTo>
                  <a:lnTo>
                    <a:pt x="244" y="174"/>
                  </a:lnTo>
                  <a:lnTo>
                    <a:pt x="241" y="150"/>
                  </a:lnTo>
                  <a:lnTo>
                    <a:pt x="235" y="128"/>
                  </a:lnTo>
                  <a:lnTo>
                    <a:pt x="230" y="107"/>
                  </a:lnTo>
                  <a:lnTo>
                    <a:pt x="221" y="89"/>
                  </a:lnTo>
                  <a:lnTo>
                    <a:pt x="213" y="72"/>
                  </a:lnTo>
                  <a:lnTo>
                    <a:pt x="202" y="56"/>
                  </a:lnTo>
                  <a:lnTo>
                    <a:pt x="202" y="56"/>
                  </a:lnTo>
                  <a:lnTo>
                    <a:pt x="190" y="42"/>
                  </a:lnTo>
                  <a:lnTo>
                    <a:pt x="176" y="31"/>
                  </a:lnTo>
                  <a:lnTo>
                    <a:pt x="161" y="21"/>
                  </a:lnTo>
                  <a:lnTo>
                    <a:pt x="146" y="14"/>
                  </a:lnTo>
                  <a:lnTo>
                    <a:pt x="127" y="7"/>
                  </a:lnTo>
                  <a:lnTo>
                    <a:pt x="108" y="3"/>
                  </a:lnTo>
                  <a:lnTo>
                    <a:pt x="87" y="0"/>
                  </a:lnTo>
                  <a:lnTo>
                    <a:pt x="66" y="0"/>
                  </a:lnTo>
                  <a:lnTo>
                    <a:pt x="0" y="0"/>
                  </a:lnTo>
                  <a:lnTo>
                    <a:pt x="0" y="474"/>
                  </a:lnTo>
                  <a:lnTo>
                    <a:pt x="50" y="474"/>
                  </a:lnTo>
                  <a:lnTo>
                    <a:pt x="50" y="474"/>
                  </a:lnTo>
                  <a:lnTo>
                    <a:pt x="74" y="474"/>
                  </a:lnTo>
                  <a:lnTo>
                    <a:pt x="98" y="471"/>
                  </a:lnTo>
                  <a:lnTo>
                    <a:pt x="119" y="466"/>
                  </a:lnTo>
                  <a:lnTo>
                    <a:pt x="139" y="460"/>
                  </a:lnTo>
                  <a:lnTo>
                    <a:pt x="155" y="452"/>
                  </a:lnTo>
                  <a:lnTo>
                    <a:pt x="172" y="440"/>
                  </a:lnTo>
                  <a:lnTo>
                    <a:pt x="186" y="428"/>
                  </a:lnTo>
                  <a:lnTo>
                    <a:pt x="199" y="414"/>
                  </a:lnTo>
                  <a:lnTo>
                    <a:pt x="199" y="414"/>
                  </a:lnTo>
                  <a:lnTo>
                    <a:pt x="210" y="398"/>
                  </a:lnTo>
                  <a:lnTo>
                    <a:pt x="220" y="380"/>
                  </a:lnTo>
                  <a:lnTo>
                    <a:pt x="228" y="359"/>
                  </a:lnTo>
                  <a:lnTo>
                    <a:pt x="235" y="338"/>
                  </a:lnTo>
                  <a:lnTo>
                    <a:pt x="240" y="313"/>
                  </a:lnTo>
                  <a:lnTo>
                    <a:pt x="244" y="288"/>
                  </a:lnTo>
                  <a:lnTo>
                    <a:pt x="247" y="260"/>
                  </a:lnTo>
                  <a:lnTo>
                    <a:pt x="247" y="2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4">
              <a:extLst>
                <a:ext uri="{FF2B5EF4-FFF2-40B4-BE49-F238E27FC236}">
                  <a16:creationId xmlns:a16="http://schemas.microsoft.com/office/drawing/2014/main" id="{F62980DE-BB0F-42E4-BDFC-D94F3DBA2400}"/>
                </a:ext>
              </a:extLst>
            </p:cNvPr>
            <p:cNvSpPr>
              <a:spLocks noChangeArrowheads="1"/>
            </p:cNvSpPr>
            <p:nvPr/>
          </p:nvSpPr>
          <p:spPr bwMode="auto">
            <a:xfrm>
              <a:off x="3406" y="1627"/>
              <a:ext cx="106" cy="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a:extLst>
                <a:ext uri="{FF2B5EF4-FFF2-40B4-BE49-F238E27FC236}">
                  <a16:creationId xmlns:a16="http://schemas.microsoft.com/office/drawing/2014/main" id="{861A6004-EE27-408F-9607-D24583682C24}"/>
                </a:ext>
              </a:extLst>
            </p:cNvPr>
            <p:cNvSpPr>
              <a:spLocks noEditPoints="1"/>
            </p:cNvSpPr>
            <p:nvPr/>
          </p:nvSpPr>
          <p:spPr bwMode="auto">
            <a:xfrm>
              <a:off x="3554" y="1731"/>
              <a:ext cx="308" cy="327"/>
            </a:xfrm>
            <a:custGeom>
              <a:avLst/>
              <a:gdLst>
                <a:gd name="T0" fmla="*/ 616 w 617"/>
                <a:gd name="T1" fmla="*/ 365 h 655"/>
                <a:gd name="T2" fmla="*/ 596 w 617"/>
                <a:gd name="T3" fmla="*/ 464 h 655"/>
                <a:gd name="T4" fmla="*/ 554 w 617"/>
                <a:gd name="T5" fmla="*/ 546 h 655"/>
                <a:gd name="T6" fmla="*/ 525 w 617"/>
                <a:gd name="T7" fmla="*/ 579 h 655"/>
                <a:gd name="T8" fmla="*/ 491 w 617"/>
                <a:gd name="T9" fmla="*/ 607 h 655"/>
                <a:gd name="T10" fmla="*/ 438 w 617"/>
                <a:gd name="T11" fmla="*/ 634 h 655"/>
                <a:gd name="T12" fmla="*/ 342 w 617"/>
                <a:gd name="T13" fmla="*/ 654 h 655"/>
                <a:gd name="T14" fmla="*/ 272 w 617"/>
                <a:gd name="T15" fmla="*/ 654 h 655"/>
                <a:gd name="T16" fmla="*/ 181 w 617"/>
                <a:gd name="T17" fmla="*/ 634 h 655"/>
                <a:gd name="T18" fmla="*/ 106 w 617"/>
                <a:gd name="T19" fmla="*/ 588 h 655"/>
                <a:gd name="T20" fmla="*/ 64 w 617"/>
                <a:gd name="T21" fmla="*/ 544 h 655"/>
                <a:gd name="T22" fmla="*/ 21 w 617"/>
                <a:gd name="T23" fmla="*/ 463 h 655"/>
                <a:gd name="T24" fmla="*/ 2 w 617"/>
                <a:gd name="T25" fmla="*/ 363 h 655"/>
                <a:gd name="T26" fmla="*/ 2 w 617"/>
                <a:gd name="T27" fmla="*/ 289 h 655"/>
                <a:gd name="T28" fmla="*/ 21 w 617"/>
                <a:gd name="T29" fmla="*/ 190 h 655"/>
                <a:gd name="T30" fmla="*/ 64 w 617"/>
                <a:gd name="T31" fmla="*/ 110 h 655"/>
                <a:gd name="T32" fmla="*/ 103 w 617"/>
                <a:gd name="T33" fmla="*/ 66 h 655"/>
                <a:gd name="T34" fmla="*/ 152 w 617"/>
                <a:gd name="T35" fmla="*/ 34 h 655"/>
                <a:gd name="T36" fmla="*/ 242 w 617"/>
                <a:gd name="T37" fmla="*/ 6 h 655"/>
                <a:gd name="T38" fmla="*/ 310 w 617"/>
                <a:gd name="T39" fmla="*/ 0 h 655"/>
                <a:gd name="T40" fmla="*/ 376 w 617"/>
                <a:gd name="T41" fmla="*/ 6 h 655"/>
                <a:gd name="T42" fmla="*/ 435 w 617"/>
                <a:gd name="T43" fmla="*/ 23 h 655"/>
                <a:gd name="T44" fmla="*/ 471 w 617"/>
                <a:gd name="T45" fmla="*/ 41 h 655"/>
                <a:gd name="T46" fmla="*/ 519 w 617"/>
                <a:gd name="T47" fmla="*/ 75 h 655"/>
                <a:gd name="T48" fmla="*/ 558 w 617"/>
                <a:gd name="T49" fmla="*/ 120 h 655"/>
                <a:gd name="T50" fmla="*/ 579 w 617"/>
                <a:gd name="T51" fmla="*/ 155 h 655"/>
                <a:gd name="T52" fmla="*/ 602 w 617"/>
                <a:gd name="T53" fmla="*/ 214 h 655"/>
                <a:gd name="T54" fmla="*/ 614 w 617"/>
                <a:gd name="T55" fmla="*/ 279 h 655"/>
                <a:gd name="T56" fmla="*/ 216 w 617"/>
                <a:gd name="T57" fmla="*/ 327 h 655"/>
                <a:gd name="T58" fmla="*/ 222 w 617"/>
                <a:gd name="T59" fmla="*/ 399 h 655"/>
                <a:gd name="T60" fmla="*/ 233 w 617"/>
                <a:gd name="T61" fmla="*/ 439 h 655"/>
                <a:gd name="T62" fmla="*/ 244 w 617"/>
                <a:gd name="T63" fmla="*/ 462 h 655"/>
                <a:gd name="T64" fmla="*/ 267 w 617"/>
                <a:gd name="T65" fmla="*/ 483 h 655"/>
                <a:gd name="T66" fmla="*/ 298 w 617"/>
                <a:gd name="T67" fmla="*/ 494 h 655"/>
                <a:gd name="T68" fmla="*/ 321 w 617"/>
                <a:gd name="T69" fmla="*/ 494 h 655"/>
                <a:gd name="T70" fmla="*/ 352 w 617"/>
                <a:gd name="T71" fmla="*/ 483 h 655"/>
                <a:gd name="T72" fmla="*/ 373 w 617"/>
                <a:gd name="T73" fmla="*/ 462 h 655"/>
                <a:gd name="T74" fmla="*/ 384 w 617"/>
                <a:gd name="T75" fmla="*/ 439 h 655"/>
                <a:gd name="T76" fmla="*/ 394 w 617"/>
                <a:gd name="T77" fmla="*/ 399 h 655"/>
                <a:gd name="T78" fmla="*/ 400 w 617"/>
                <a:gd name="T79" fmla="*/ 327 h 655"/>
                <a:gd name="T80" fmla="*/ 391 w 617"/>
                <a:gd name="T81" fmla="*/ 242 h 655"/>
                <a:gd name="T82" fmla="*/ 379 w 617"/>
                <a:gd name="T83" fmla="*/ 205 h 655"/>
                <a:gd name="T84" fmla="*/ 368 w 617"/>
                <a:gd name="T85" fmla="*/ 187 h 655"/>
                <a:gd name="T86" fmla="*/ 342 w 617"/>
                <a:gd name="T87" fmla="*/ 169 h 655"/>
                <a:gd name="T88" fmla="*/ 309 w 617"/>
                <a:gd name="T89" fmla="*/ 163 h 655"/>
                <a:gd name="T90" fmla="*/ 285 w 617"/>
                <a:gd name="T91" fmla="*/ 166 h 655"/>
                <a:gd name="T92" fmla="*/ 258 w 617"/>
                <a:gd name="T93" fmla="*/ 180 h 655"/>
                <a:gd name="T94" fmla="*/ 239 w 617"/>
                <a:gd name="T95" fmla="*/ 205 h 655"/>
                <a:gd name="T96" fmla="*/ 229 w 617"/>
                <a:gd name="T97" fmla="*/ 228 h 655"/>
                <a:gd name="T98" fmla="*/ 218 w 617"/>
                <a:gd name="T99" fmla="*/ 28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7" h="655">
                  <a:moveTo>
                    <a:pt x="617" y="327"/>
                  </a:moveTo>
                  <a:lnTo>
                    <a:pt x="617" y="327"/>
                  </a:lnTo>
                  <a:lnTo>
                    <a:pt x="616" y="365"/>
                  </a:lnTo>
                  <a:lnTo>
                    <a:pt x="612" y="400"/>
                  </a:lnTo>
                  <a:lnTo>
                    <a:pt x="606" y="434"/>
                  </a:lnTo>
                  <a:lnTo>
                    <a:pt x="596" y="464"/>
                  </a:lnTo>
                  <a:lnTo>
                    <a:pt x="585" y="494"/>
                  </a:lnTo>
                  <a:lnTo>
                    <a:pt x="571" y="522"/>
                  </a:lnTo>
                  <a:lnTo>
                    <a:pt x="554" y="546"/>
                  </a:lnTo>
                  <a:lnTo>
                    <a:pt x="536" y="570"/>
                  </a:lnTo>
                  <a:lnTo>
                    <a:pt x="536" y="570"/>
                  </a:lnTo>
                  <a:lnTo>
                    <a:pt x="525" y="579"/>
                  </a:lnTo>
                  <a:lnTo>
                    <a:pt x="513" y="589"/>
                  </a:lnTo>
                  <a:lnTo>
                    <a:pt x="502" y="599"/>
                  </a:lnTo>
                  <a:lnTo>
                    <a:pt x="491" y="607"/>
                  </a:lnTo>
                  <a:lnTo>
                    <a:pt x="478" y="614"/>
                  </a:lnTo>
                  <a:lnTo>
                    <a:pt x="464" y="621"/>
                  </a:lnTo>
                  <a:lnTo>
                    <a:pt x="438" y="634"/>
                  </a:lnTo>
                  <a:lnTo>
                    <a:pt x="408" y="644"/>
                  </a:lnTo>
                  <a:lnTo>
                    <a:pt x="376" y="651"/>
                  </a:lnTo>
                  <a:lnTo>
                    <a:pt x="342" y="654"/>
                  </a:lnTo>
                  <a:lnTo>
                    <a:pt x="307" y="655"/>
                  </a:lnTo>
                  <a:lnTo>
                    <a:pt x="307" y="655"/>
                  </a:lnTo>
                  <a:lnTo>
                    <a:pt x="272" y="654"/>
                  </a:lnTo>
                  <a:lnTo>
                    <a:pt x="240" y="649"/>
                  </a:lnTo>
                  <a:lnTo>
                    <a:pt x="209" y="644"/>
                  </a:lnTo>
                  <a:lnTo>
                    <a:pt x="181" y="634"/>
                  </a:lnTo>
                  <a:lnTo>
                    <a:pt x="155" y="621"/>
                  </a:lnTo>
                  <a:lnTo>
                    <a:pt x="129" y="606"/>
                  </a:lnTo>
                  <a:lnTo>
                    <a:pt x="106" y="588"/>
                  </a:lnTo>
                  <a:lnTo>
                    <a:pt x="83" y="567"/>
                  </a:lnTo>
                  <a:lnTo>
                    <a:pt x="83" y="567"/>
                  </a:lnTo>
                  <a:lnTo>
                    <a:pt x="64" y="544"/>
                  </a:lnTo>
                  <a:lnTo>
                    <a:pt x="47" y="519"/>
                  </a:lnTo>
                  <a:lnTo>
                    <a:pt x="33" y="491"/>
                  </a:lnTo>
                  <a:lnTo>
                    <a:pt x="21" y="463"/>
                  </a:lnTo>
                  <a:lnTo>
                    <a:pt x="12" y="432"/>
                  </a:lnTo>
                  <a:lnTo>
                    <a:pt x="6" y="399"/>
                  </a:lnTo>
                  <a:lnTo>
                    <a:pt x="2" y="363"/>
                  </a:lnTo>
                  <a:lnTo>
                    <a:pt x="0" y="327"/>
                  </a:lnTo>
                  <a:lnTo>
                    <a:pt x="0" y="327"/>
                  </a:lnTo>
                  <a:lnTo>
                    <a:pt x="2" y="289"/>
                  </a:lnTo>
                  <a:lnTo>
                    <a:pt x="6" y="254"/>
                  </a:lnTo>
                  <a:lnTo>
                    <a:pt x="12" y="221"/>
                  </a:lnTo>
                  <a:lnTo>
                    <a:pt x="21" y="190"/>
                  </a:lnTo>
                  <a:lnTo>
                    <a:pt x="33" y="160"/>
                  </a:lnTo>
                  <a:lnTo>
                    <a:pt x="47" y="134"/>
                  </a:lnTo>
                  <a:lnTo>
                    <a:pt x="64" y="110"/>
                  </a:lnTo>
                  <a:lnTo>
                    <a:pt x="82" y="87"/>
                  </a:lnTo>
                  <a:lnTo>
                    <a:pt x="82" y="87"/>
                  </a:lnTo>
                  <a:lnTo>
                    <a:pt x="103" y="66"/>
                  </a:lnTo>
                  <a:lnTo>
                    <a:pt x="115" y="58"/>
                  </a:lnTo>
                  <a:lnTo>
                    <a:pt x="127" y="50"/>
                  </a:lnTo>
                  <a:lnTo>
                    <a:pt x="152" y="34"/>
                  </a:lnTo>
                  <a:lnTo>
                    <a:pt x="180" y="23"/>
                  </a:lnTo>
                  <a:lnTo>
                    <a:pt x="209" y="13"/>
                  </a:lnTo>
                  <a:lnTo>
                    <a:pt x="242" y="6"/>
                  </a:lnTo>
                  <a:lnTo>
                    <a:pt x="275" y="2"/>
                  </a:lnTo>
                  <a:lnTo>
                    <a:pt x="310" y="0"/>
                  </a:lnTo>
                  <a:lnTo>
                    <a:pt x="310" y="0"/>
                  </a:lnTo>
                  <a:lnTo>
                    <a:pt x="333" y="2"/>
                  </a:lnTo>
                  <a:lnTo>
                    <a:pt x="355" y="3"/>
                  </a:lnTo>
                  <a:lnTo>
                    <a:pt x="376" y="6"/>
                  </a:lnTo>
                  <a:lnTo>
                    <a:pt x="396" y="12"/>
                  </a:lnTo>
                  <a:lnTo>
                    <a:pt x="415" y="17"/>
                  </a:lnTo>
                  <a:lnTo>
                    <a:pt x="435" y="23"/>
                  </a:lnTo>
                  <a:lnTo>
                    <a:pt x="453" y="31"/>
                  </a:lnTo>
                  <a:lnTo>
                    <a:pt x="471" y="41"/>
                  </a:lnTo>
                  <a:lnTo>
                    <a:pt x="471" y="41"/>
                  </a:lnTo>
                  <a:lnTo>
                    <a:pt x="488" y="51"/>
                  </a:lnTo>
                  <a:lnTo>
                    <a:pt x="504" y="62"/>
                  </a:lnTo>
                  <a:lnTo>
                    <a:pt x="519" y="75"/>
                  </a:lnTo>
                  <a:lnTo>
                    <a:pt x="533" y="89"/>
                  </a:lnTo>
                  <a:lnTo>
                    <a:pt x="546" y="104"/>
                  </a:lnTo>
                  <a:lnTo>
                    <a:pt x="558" y="120"/>
                  </a:lnTo>
                  <a:lnTo>
                    <a:pt x="569" y="136"/>
                  </a:lnTo>
                  <a:lnTo>
                    <a:pt x="579" y="155"/>
                  </a:lnTo>
                  <a:lnTo>
                    <a:pt x="579" y="155"/>
                  </a:lnTo>
                  <a:lnTo>
                    <a:pt x="588" y="173"/>
                  </a:lnTo>
                  <a:lnTo>
                    <a:pt x="596" y="192"/>
                  </a:lnTo>
                  <a:lnTo>
                    <a:pt x="602" y="214"/>
                  </a:lnTo>
                  <a:lnTo>
                    <a:pt x="607" y="235"/>
                  </a:lnTo>
                  <a:lnTo>
                    <a:pt x="612" y="257"/>
                  </a:lnTo>
                  <a:lnTo>
                    <a:pt x="614" y="279"/>
                  </a:lnTo>
                  <a:lnTo>
                    <a:pt x="616" y="303"/>
                  </a:lnTo>
                  <a:lnTo>
                    <a:pt x="617" y="327"/>
                  </a:lnTo>
                  <a:close/>
                  <a:moveTo>
                    <a:pt x="216" y="327"/>
                  </a:moveTo>
                  <a:lnTo>
                    <a:pt x="216" y="327"/>
                  </a:lnTo>
                  <a:lnTo>
                    <a:pt x="218" y="365"/>
                  </a:lnTo>
                  <a:lnTo>
                    <a:pt x="222" y="399"/>
                  </a:lnTo>
                  <a:lnTo>
                    <a:pt x="225" y="414"/>
                  </a:lnTo>
                  <a:lnTo>
                    <a:pt x="229" y="428"/>
                  </a:lnTo>
                  <a:lnTo>
                    <a:pt x="233" y="439"/>
                  </a:lnTo>
                  <a:lnTo>
                    <a:pt x="239" y="452"/>
                  </a:lnTo>
                  <a:lnTo>
                    <a:pt x="239" y="452"/>
                  </a:lnTo>
                  <a:lnTo>
                    <a:pt x="244" y="462"/>
                  </a:lnTo>
                  <a:lnTo>
                    <a:pt x="250" y="470"/>
                  </a:lnTo>
                  <a:lnTo>
                    <a:pt x="258" y="477"/>
                  </a:lnTo>
                  <a:lnTo>
                    <a:pt x="267" y="483"/>
                  </a:lnTo>
                  <a:lnTo>
                    <a:pt x="277" y="488"/>
                  </a:lnTo>
                  <a:lnTo>
                    <a:pt x="286" y="491"/>
                  </a:lnTo>
                  <a:lnTo>
                    <a:pt x="298" y="494"/>
                  </a:lnTo>
                  <a:lnTo>
                    <a:pt x="309" y="494"/>
                  </a:lnTo>
                  <a:lnTo>
                    <a:pt x="309" y="494"/>
                  </a:lnTo>
                  <a:lnTo>
                    <a:pt x="321" y="494"/>
                  </a:lnTo>
                  <a:lnTo>
                    <a:pt x="333" y="491"/>
                  </a:lnTo>
                  <a:lnTo>
                    <a:pt x="342" y="488"/>
                  </a:lnTo>
                  <a:lnTo>
                    <a:pt x="352" y="483"/>
                  </a:lnTo>
                  <a:lnTo>
                    <a:pt x="361" y="477"/>
                  </a:lnTo>
                  <a:lnTo>
                    <a:pt x="368" y="470"/>
                  </a:lnTo>
                  <a:lnTo>
                    <a:pt x="373" y="462"/>
                  </a:lnTo>
                  <a:lnTo>
                    <a:pt x="379" y="452"/>
                  </a:lnTo>
                  <a:lnTo>
                    <a:pt x="379" y="452"/>
                  </a:lnTo>
                  <a:lnTo>
                    <a:pt x="384" y="439"/>
                  </a:lnTo>
                  <a:lnTo>
                    <a:pt x="389" y="428"/>
                  </a:lnTo>
                  <a:lnTo>
                    <a:pt x="391" y="414"/>
                  </a:lnTo>
                  <a:lnTo>
                    <a:pt x="394" y="399"/>
                  </a:lnTo>
                  <a:lnTo>
                    <a:pt x="398" y="365"/>
                  </a:lnTo>
                  <a:lnTo>
                    <a:pt x="400" y="327"/>
                  </a:lnTo>
                  <a:lnTo>
                    <a:pt x="400" y="327"/>
                  </a:lnTo>
                  <a:lnTo>
                    <a:pt x="398" y="289"/>
                  </a:lnTo>
                  <a:lnTo>
                    <a:pt x="394" y="256"/>
                  </a:lnTo>
                  <a:lnTo>
                    <a:pt x="391" y="242"/>
                  </a:lnTo>
                  <a:lnTo>
                    <a:pt x="389" y="228"/>
                  </a:lnTo>
                  <a:lnTo>
                    <a:pt x="384" y="216"/>
                  </a:lnTo>
                  <a:lnTo>
                    <a:pt x="379" y="205"/>
                  </a:lnTo>
                  <a:lnTo>
                    <a:pt x="379" y="205"/>
                  </a:lnTo>
                  <a:lnTo>
                    <a:pt x="373" y="195"/>
                  </a:lnTo>
                  <a:lnTo>
                    <a:pt x="368" y="187"/>
                  </a:lnTo>
                  <a:lnTo>
                    <a:pt x="359" y="180"/>
                  </a:lnTo>
                  <a:lnTo>
                    <a:pt x="351" y="174"/>
                  </a:lnTo>
                  <a:lnTo>
                    <a:pt x="342" y="169"/>
                  </a:lnTo>
                  <a:lnTo>
                    <a:pt x="331" y="166"/>
                  </a:lnTo>
                  <a:lnTo>
                    <a:pt x="320" y="164"/>
                  </a:lnTo>
                  <a:lnTo>
                    <a:pt x="309" y="163"/>
                  </a:lnTo>
                  <a:lnTo>
                    <a:pt x="309" y="163"/>
                  </a:lnTo>
                  <a:lnTo>
                    <a:pt x="296" y="164"/>
                  </a:lnTo>
                  <a:lnTo>
                    <a:pt x="285" y="166"/>
                  </a:lnTo>
                  <a:lnTo>
                    <a:pt x="275" y="169"/>
                  </a:lnTo>
                  <a:lnTo>
                    <a:pt x="267" y="174"/>
                  </a:lnTo>
                  <a:lnTo>
                    <a:pt x="258" y="180"/>
                  </a:lnTo>
                  <a:lnTo>
                    <a:pt x="250" y="187"/>
                  </a:lnTo>
                  <a:lnTo>
                    <a:pt x="244" y="195"/>
                  </a:lnTo>
                  <a:lnTo>
                    <a:pt x="239" y="205"/>
                  </a:lnTo>
                  <a:lnTo>
                    <a:pt x="239" y="205"/>
                  </a:lnTo>
                  <a:lnTo>
                    <a:pt x="233" y="215"/>
                  </a:lnTo>
                  <a:lnTo>
                    <a:pt x="229" y="228"/>
                  </a:lnTo>
                  <a:lnTo>
                    <a:pt x="225" y="242"/>
                  </a:lnTo>
                  <a:lnTo>
                    <a:pt x="222" y="256"/>
                  </a:lnTo>
                  <a:lnTo>
                    <a:pt x="218" y="289"/>
                  </a:lnTo>
                  <a:lnTo>
                    <a:pt x="216" y="3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a:extLst>
                <a:ext uri="{FF2B5EF4-FFF2-40B4-BE49-F238E27FC236}">
                  <a16:creationId xmlns:a16="http://schemas.microsoft.com/office/drawing/2014/main" id="{031426D6-D9ED-4AC6-BB11-6DE295167705}"/>
                </a:ext>
              </a:extLst>
            </p:cNvPr>
            <p:cNvSpPr>
              <a:spLocks/>
            </p:cNvSpPr>
            <p:nvPr/>
          </p:nvSpPr>
          <p:spPr bwMode="auto">
            <a:xfrm>
              <a:off x="3554" y="1731"/>
              <a:ext cx="308" cy="327"/>
            </a:xfrm>
            <a:custGeom>
              <a:avLst/>
              <a:gdLst>
                <a:gd name="T0" fmla="*/ 617 w 617"/>
                <a:gd name="T1" fmla="*/ 327 h 655"/>
                <a:gd name="T2" fmla="*/ 612 w 617"/>
                <a:gd name="T3" fmla="*/ 400 h 655"/>
                <a:gd name="T4" fmla="*/ 596 w 617"/>
                <a:gd name="T5" fmla="*/ 464 h 655"/>
                <a:gd name="T6" fmla="*/ 571 w 617"/>
                <a:gd name="T7" fmla="*/ 522 h 655"/>
                <a:gd name="T8" fmla="*/ 536 w 617"/>
                <a:gd name="T9" fmla="*/ 570 h 655"/>
                <a:gd name="T10" fmla="*/ 525 w 617"/>
                <a:gd name="T11" fmla="*/ 579 h 655"/>
                <a:gd name="T12" fmla="*/ 502 w 617"/>
                <a:gd name="T13" fmla="*/ 599 h 655"/>
                <a:gd name="T14" fmla="*/ 478 w 617"/>
                <a:gd name="T15" fmla="*/ 614 h 655"/>
                <a:gd name="T16" fmla="*/ 438 w 617"/>
                <a:gd name="T17" fmla="*/ 634 h 655"/>
                <a:gd name="T18" fmla="*/ 376 w 617"/>
                <a:gd name="T19" fmla="*/ 651 h 655"/>
                <a:gd name="T20" fmla="*/ 307 w 617"/>
                <a:gd name="T21" fmla="*/ 655 h 655"/>
                <a:gd name="T22" fmla="*/ 272 w 617"/>
                <a:gd name="T23" fmla="*/ 654 h 655"/>
                <a:gd name="T24" fmla="*/ 209 w 617"/>
                <a:gd name="T25" fmla="*/ 644 h 655"/>
                <a:gd name="T26" fmla="*/ 155 w 617"/>
                <a:gd name="T27" fmla="*/ 621 h 655"/>
                <a:gd name="T28" fmla="*/ 106 w 617"/>
                <a:gd name="T29" fmla="*/ 588 h 655"/>
                <a:gd name="T30" fmla="*/ 83 w 617"/>
                <a:gd name="T31" fmla="*/ 567 h 655"/>
                <a:gd name="T32" fmla="*/ 47 w 617"/>
                <a:gd name="T33" fmla="*/ 519 h 655"/>
                <a:gd name="T34" fmla="*/ 21 w 617"/>
                <a:gd name="T35" fmla="*/ 463 h 655"/>
                <a:gd name="T36" fmla="*/ 6 w 617"/>
                <a:gd name="T37" fmla="*/ 399 h 655"/>
                <a:gd name="T38" fmla="*/ 0 w 617"/>
                <a:gd name="T39" fmla="*/ 327 h 655"/>
                <a:gd name="T40" fmla="*/ 2 w 617"/>
                <a:gd name="T41" fmla="*/ 289 h 655"/>
                <a:gd name="T42" fmla="*/ 12 w 617"/>
                <a:gd name="T43" fmla="*/ 221 h 655"/>
                <a:gd name="T44" fmla="*/ 33 w 617"/>
                <a:gd name="T45" fmla="*/ 160 h 655"/>
                <a:gd name="T46" fmla="*/ 64 w 617"/>
                <a:gd name="T47" fmla="*/ 110 h 655"/>
                <a:gd name="T48" fmla="*/ 82 w 617"/>
                <a:gd name="T49" fmla="*/ 87 h 655"/>
                <a:gd name="T50" fmla="*/ 115 w 617"/>
                <a:gd name="T51" fmla="*/ 58 h 655"/>
                <a:gd name="T52" fmla="*/ 152 w 617"/>
                <a:gd name="T53" fmla="*/ 34 h 655"/>
                <a:gd name="T54" fmla="*/ 209 w 617"/>
                <a:gd name="T55" fmla="*/ 13 h 655"/>
                <a:gd name="T56" fmla="*/ 275 w 617"/>
                <a:gd name="T57" fmla="*/ 2 h 655"/>
                <a:gd name="T58" fmla="*/ 310 w 617"/>
                <a:gd name="T59" fmla="*/ 0 h 655"/>
                <a:gd name="T60" fmla="*/ 355 w 617"/>
                <a:gd name="T61" fmla="*/ 3 h 655"/>
                <a:gd name="T62" fmla="*/ 396 w 617"/>
                <a:gd name="T63" fmla="*/ 12 h 655"/>
                <a:gd name="T64" fmla="*/ 435 w 617"/>
                <a:gd name="T65" fmla="*/ 23 h 655"/>
                <a:gd name="T66" fmla="*/ 471 w 617"/>
                <a:gd name="T67" fmla="*/ 41 h 655"/>
                <a:gd name="T68" fmla="*/ 488 w 617"/>
                <a:gd name="T69" fmla="*/ 51 h 655"/>
                <a:gd name="T70" fmla="*/ 519 w 617"/>
                <a:gd name="T71" fmla="*/ 75 h 655"/>
                <a:gd name="T72" fmla="*/ 546 w 617"/>
                <a:gd name="T73" fmla="*/ 104 h 655"/>
                <a:gd name="T74" fmla="*/ 569 w 617"/>
                <a:gd name="T75" fmla="*/ 136 h 655"/>
                <a:gd name="T76" fmla="*/ 579 w 617"/>
                <a:gd name="T77" fmla="*/ 155 h 655"/>
                <a:gd name="T78" fmla="*/ 596 w 617"/>
                <a:gd name="T79" fmla="*/ 192 h 655"/>
                <a:gd name="T80" fmla="*/ 607 w 617"/>
                <a:gd name="T81" fmla="*/ 235 h 655"/>
                <a:gd name="T82" fmla="*/ 614 w 617"/>
                <a:gd name="T83" fmla="*/ 279 h 655"/>
                <a:gd name="T84" fmla="*/ 617 w 617"/>
                <a:gd name="T85" fmla="*/ 32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7" h="655">
                  <a:moveTo>
                    <a:pt x="617" y="327"/>
                  </a:moveTo>
                  <a:lnTo>
                    <a:pt x="617" y="327"/>
                  </a:lnTo>
                  <a:lnTo>
                    <a:pt x="616" y="365"/>
                  </a:lnTo>
                  <a:lnTo>
                    <a:pt x="612" y="400"/>
                  </a:lnTo>
                  <a:lnTo>
                    <a:pt x="606" y="434"/>
                  </a:lnTo>
                  <a:lnTo>
                    <a:pt x="596" y="464"/>
                  </a:lnTo>
                  <a:lnTo>
                    <a:pt x="585" y="494"/>
                  </a:lnTo>
                  <a:lnTo>
                    <a:pt x="571" y="522"/>
                  </a:lnTo>
                  <a:lnTo>
                    <a:pt x="554" y="546"/>
                  </a:lnTo>
                  <a:lnTo>
                    <a:pt x="536" y="570"/>
                  </a:lnTo>
                  <a:lnTo>
                    <a:pt x="536" y="570"/>
                  </a:lnTo>
                  <a:lnTo>
                    <a:pt x="525" y="579"/>
                  </a:lnTo>
                  <a:lnTo>
                    <a:pt x="513" y="589"/>
                  </a:lnTo>
                  <a:lnTo>
                    <a:pt x="502" y="599"/>
                  </a:lnTo>
                  <a:lnTo>
                    <a:pt x="491" y="607"/>
                  </a:lnTo>
                  <a:lnTo>
                    <a:pt x="478" y="614"/>
                  </a:lnTo>
                  <a:lnTo>
                    <a:pt x="464" y="621"/>
                  </a:lnTo>
                  <a:lnTo>
                    <a:pt x="438" y="634"/>
                  </a:lnTo>
                  <a:lnTo>
                    <a:pt x="408" y="644"/>
                  </a:lnTo>
                  <a:lnTo>
                    <a:pt x="376" y="651"/>
                  </a:lnTo>
                  <a:lnTo>
                    <a:pt x="342" y="654"/>
                  </a:lnTo>
                  <a:lnTo>
                    <a:pt x="307" y="655"/>
                  </a:lnTo>
                  <a:lnTo>
                    <a:pt x="307" y="655"/>
                  </a:lnTo>
                  <a:lnTo>
                    <a:pt x="272" y="654"/>
                  </a:lnTo>
                  <a:lnTo>
                    <a:pt x="240" y="649"/>
                  </a:lnTo>
                  <a:lnTo>
                    <a:pt x="209" y="644"/>
                  </a:lnTo>
                  <a:lnTo>
                    <a:pt x="181" y="634"/>
                  </a:lnTo>
                  <a:lnTo>
                    <a:pt x="155" y="621"/>
                  </a:lnTo>
                  <a:lnTo>
                    <a:pt x="129" y="606"/>
                  </a:lnTo>
                  <a:lnTo>
                    <a:pt x="106" y="588"/>
                  </a:lnTo>
                  <a:lnTo>
                    <a:pt x="83" y="567"/>
                  </a:lnTo>
                  <a:lnTo>
                    <a:pt x="83" y="567"/>
                  </a:lnTo>
                  <a:lnTo>
                    <a:pt x="64" y="544"/>
                  </a:lnTo>
                  <a:lnTo>
                    <a:pt x="47" y="519"/>
                  </a:lnTo>
                  <a:lnTo>
                    <a:pt x="33" y="491"/>
                  </a:lnTo>
                  <a:lnTo>
                    <a:pt x="21" y="463"/>
                  </a:lnTo>
                  <a:lnTo>
                    <a:pt x="12" y="432"/>
                  </a:lnTo>
                  <a:lnTo>
                    <a:pt x="6" y="399"/>
                  </a:lnTo>
                  <a:lnTo>
                    <a:pt x="2" y="363"/>
                  </a:lnTo>
                  <a:lnTo>
                    <a:pt x="0" y="327"/>
                  </a:lnTo>
                  <a:lnTo>
                    <a:pt x="0" y="327"/>
                  </a:lnTo>
                  <a:lnTo>
                    <a:pt x="2" y="289"/>
                  </a:lnTo>
                  <a:lnTo>
                    <a:pt x="6" y="254"/>
                  </a:lnTo>
                  <a:lnTo>
                    <a:pt x="12" y="221"/>
                  </a:lnTo>
                  <a:lnTo>
                    <a:pt x="21" y="190"/>
                  </a:lnTo>
                  <a:lnTo>
                    <a:pt x="33" y="160"/>
                  </a:lnTo>
                  <a:lnTo>
                    <a:pt x="47" y="134"/>
                  </a:lnTo>
                  <a:lnTo>
                    <a:pt x="64" y="110"/>
                  </a:lnTo>
                  <a:lnTo>
                    <a:pt x="82" y="87"/>
                  </a:lnTo>
                  <a:lnTo>
                    <a:pt x="82" y="87"/>
                  </a:lnTo>
                  <a:lnTo>
                    <a:pt x="103" y="66"/>
                  </a:lnTo>
                  <a:lnTo>
                    <a:pt x="115" y="58"/>
                  </a:lnTo>
                  <a:lnTo>
                    <a:pt x="127" y="50"/>
                  </a:lnTo>
                  <a:lnTo>
                    <a:pt x="152" y="34"/>
                  </a:lnTo>
                  <a:lnTo>
                    <a:pt x="180" y="23"/>
                  </a:lnTo>
                  <a:lnTo>
                    <a:pt x="209" y="13"/>
                  </a:lnTo>
                  <a:lnTo>
                    <a:pt x="242" y="6"/>
                  </a:lnTo>
                  <a:lnTo>
                    <a:pt x="275" y="2"/>
                  </a:lnTo>
                  <a:lnTo>
                    <a:pt x="310" y="0"/>
                  </a:lnTo>
                  <a:lnTo>
                    <a:pt x="310" y="0"/>
                  </a:lnTo>
                  <a:lnTo>
                    <a:pt x="333" y="2"/>
                  </a:lnTo>
                  <a:lnTo>
                    <a:pt x="355" y="3"/>
                  </a:lnTo>
                  <a:lnTo>
                    <a:pt x="376" y="6"/>
                  </a:lnTo>
                  <a:lnTo>
                    <a:pt x="396" y="12"/>
                  </a:lnTo>
                  <a:lnTo>
                    <a:pt x="415" y="17"/>
                  </a:lnTo>
                  <a:lnTo>
                    <a:pt x="435" y="23"/>
                  </a:lnTo>
                  <a:lnTo>
                    <a:pt x="453" y="31"/>
                  </a:lnTo>
                  <a:lnTo>
                    <a:pt x="471" y="41"/>
                  </a:lnTo>
                  <a:lnTo>
                    <a:pt x="471" y="41"/>
                  </a:lnTo>
                  <a:lnTo>
                    <a:pt x="488" y="51"/>
                  </a:lnTo>
                  <a:lnTo>
                    <a:pt x="504" y="62"/>
                  </a:lnTo>
                  <a:lnTo>
                    <a:pt x="519" y="75"/>
                  </a:lnTo>
                  <a:lnTo>
                    <a:pt x="533" y="89"/>
                  </a:lnTo>
                  <a:lnTo>
                    <a:pt x="546" y="104"/>
                  </a:lnTo>
                  <a:lnTo>
                    <a:pt x="558" y="120"/>
                  </a:lnTo>
                  <a:lnTo>
                    <a:pt x="569" y="136"/>
                  </a:lnTo>
                  <a:lnTo>
                    <a:pt x="579" y="155"/>
                  </a:lnTo>
                  <a:lnTo>
                    <a:pt x="579" y="155"/>
                  </a:lnTo>
                  <a:lnTo>
                    <a:pt x="588" y="173"/>
                  </a:lnTo>
                  <a:lnTo>
                    <a:pt x="596" y="192"/>
                  </a:lnTo>
                  <a:lnTo>
                    <a:pt x="602" y="214"/>
                  </a:lnTo>
                  <a:lnTo>
                    <a:pt x="607" y="235"/>
                  </a:lnTo>
                  <a:lnTo>
                    <a:pt x="612" y="257"/>
                  </a:lnTo>
                  <a:lnTo>
                    <a:pt x="614" y="279"/>
                  </a:lnTo>
                  <a:lnTo>
                    <a:pt x="616" y="303"/>
                  </a:lnTo>
                  <a:lnTo>
                    <a:pt x="617" y="3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a:extLst>
                <a:ext uri="{FF2B5EF4-FFF2-40B4-BE49-F238E27FC236}">
                  <a16:creationId xmlns:a16="http://schemas.microsoft.com/office/drawing/2014/main" id="{6E0BFBDE-C695-4357-A25F-E7C66E0710D2}"/>
                </a:ext>
              </a:extLst>
            </p:cNvPr>
            <p:cNvSpPr>
              <a:spLocks/>
            </p:cNvSpPr>
            <p:nvPr/>
          </p:nvSpPr>
          <p:spPr bwMode="auto">
            <a:xfrm>
              <a:off x="3662" y="1812"/>
              <a:ext cx="91" cy="165"/>
            </a:xfrm>
            <a:custGeom>
              <a:avLst/>
              <a:gdLst>
                <a:gd name="T0" fmla="*/ 0 w 184"/>
                <a:gd name="T1" fmla="*/ 164 h 331"/>
                <a:gd name="T2" fmla="*/ 6 w 184"/>
                <a:gd name="T3" fmla="*/ 236 h 331"/>
                <a:gd name="T4" fmla="*/ 13 w 184"/>
                <a:gd name="T5" fmla="*/ 265 h 331"/>
                <a:gd name="T6" fmla="*/ 23 w 184"/>
                <a:gd name="T7" fmla="*/ 289 h 331"/>
                <a:gd name="T8" fmla="*/ 28 w 184"/>
                <a:gd name="T9" fmla="*/ 299 h 331"/>
                <a:gd name="T10" fmla="*/ 42 w 184"/>
                <a:gd name="T11" fmla="*/ 314 h 331"/>
                <a:gd name="T12" fmla="*/ 61 w 184"/>
                <a:gd name="T13" fmla="*/ 325 h 331"/>
                <a:gd name="T14" fmla="*/ 82 w 184"/>
                <a:gd name="T15" fmla="*/ 331 h 331"/>
                <a:gd name="T16" fmla="*/ 93 w 184"/>
                <a:gd name="T17" fmla="*/ 331 h 331"/>
                <a:gd name="T18" fmla="*/ 117 w 184"/>
                <a:gd name="T19" fmla="*/ 328 h 331"/>
                <a:gd name="T20" fmla="*/ 136 w 184"/>
                <a:gd name="T21" fmla="*/ 320 h 331"/>
                <a:gd name="T22" fmla="*/ 152 w 184"/>
                <a:gd name="T23" fmla="*/ 307 h 331"/>
                <a:gd name="T24" fmla="*/ 163 w 184"/>
                <a:gd name="T25" fmla="*/ 289 h 331"/>
                <a:gd name="T26" fmla="*/ 168 w 184"/>
                <a:gd name="T27" fmla="*/ 276 h 331"/>
                <a:gd name="T28" fmla="*/ 175 w 184"/>
                <a:gd name="T29" fmla="*/ 251 h 331"/>
                <a:gd name="T30" fmla="*/ 182 w 184"/>
                <a:gd name="T31" fmla="*/ 202 h 331"/>
                <a:gd name="T32" fmla="*/ 184 w 184"/>
                <a:gd name="T33" fmla="*/ 164 h 331"/>
                <a:gd name="T34" fmla="*/ 178 w 184"/>
                <a:gd name="T35" fmla="*/ 93 h 331"/>
                <a:gd name="T36" fmla="*/ 173 w 184"/>
                <a:gd name="T37" fmla="*/ 65 h 331"/>
                <a:gd name="T38" fmla="*/ 163 w 184"/>
                <a:gd name="T39" fmla="*/ 42 h 331"/>
                <a:gd name="T40" fmla="*/ 157 w 184"/>
                <a:gd name="T41" fmla="*/ 32 h 331"/>
                <a:gd name="T42" fmla="*/ 143 w 184"/>
                <a:gd name="T43" fmla="*/ 17 h 331"/>
                <a:gd name="T44" fmla="*/ 126 w 184"/>
                <a:gd name="T45" fmla="*/ 6 h 331"/>
                <a:gd name="T46" fmla="*/ 104 w 184"/>
                <a:gd name="T47" fmla="*/ 1 h 331"/>
                <a:gd name="T48" fmla="*/ 93 w 184"/>
                <a:gd name="T49" fmla="*/ 0 h 331"/>
                <a:gd name="T50" fmla="*/ 69 w 184"/>
                <a:gd name="T51" fmla="*/ 3 h 331"/>
                <a:gd name="T52" fmla="*/ 51 w 184"/>
                <a:gd name="T53" fmla="*/ 11 h 331"/>
                <a:gd name="T54" fmla="*/ 34 w 184"/>
                <a:gd name="T55" fmla="*/ 24 h 331"/>
                <a:gd name="T56" fmla="*/ 23 w 184"/>
                <a:gd name="T57" fmla="*/ 42 h 331"/>
                <a:gd name="T58" fmla="*/ 17 w 184"/>
                <a:gd name="T59" fmla="*/ 52 h 331"/>
                <a:gd name="T60" fmla="*/ 9 w 184"/>
                <a:gd name="T61" fmla="*/ 79 h 331"/>
                <a:gd name="T62" fmla="*/ 2 w 184"/>
                <a:gd name="T63" fmla="*/ 12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4" h="331">
                  <a:moveTo>
                    <a:pt x="0" y="164"/>
                  </a:moveTo>
                  <a:lnTo>
                    <a:pt x="0" y="164"/>
                  </a:lnTo>
                  <a:lnTo>
                    <a:pt x="2" y="202"/>
                  </a:lnTo>
                  <a:lnTo>
                    <a:pt x="6" y="236"/>
                  </a:lnTo>
                  <a:lnTo>
                    <a:pt x="9" y="251"/>
                  </a:lnTo>
                  <a:lnTo>
                    <a:pt x="13" y="265"/>
                  </a:lnTo>
                  <a:lnTo>
                    <a:pt x="17" y="276"/>
                  </a:lnTo>
                  <a:lnTo>
                    <a:pt x="23" y="289"/>
                  </a:lnTo>
                  <a:lnTo>
                    <a:pt x="23" y="289"/>
                  </a:lnTo>
                  <a:lnTo>
                    <a:pt x="28" y="299"/>
                  </a:lnTo>
                  <a:lnTo>
                    <a:pt x="34" y="307"/>
                  </a:lnTo>
                  <a:lnTo>
                    <a:pt x="42" y="314"/>
                  </a:lnTo>
                  <a:lnTo>
                    <a:pt x="51" y="320"/>
                  </a:lnTo>
                  <a:lnTo>
                    <a:pt x="61" y="325"/>
                  </a:lnTo>
                  <a:lnTo>
                    <a:pt x="70" y="328"/>
                  </a:lnTo>
                  <a:lnTo>
                    <a:pt x="82" y="331"/>
                  </a:lnTo>
                  <a:lnTo>
                    <a:pt x="93" y="331"/>
                  </a:lnTo>
                  <a:lnTo>
                    <a:pt x="93" y="331"/>
                  </a:lnTo>
                  <a:lnTo>
                    <a:pt x="105" y="331"/>
                  </a:lnTo>
                  <a:lnTo>
                    <a:pt x="117" y="328"/>
                  </a:lnTo>
                  <a:lnTo>
                    <a:pt x="126" y="325"/>
                  </a:lnTo>
                  <a:lnTo>
                    <a:pt x="136" y="320"/>
                  </a:lnTo>
                  <a:lnTo>
                    <a:pt x="145" y="314"/>
                  </a:lnTo>
                  <a:lnTo>
                    <a:pt x="152" y="307"/>
                  </a:lnTo>
                  <a:lnTo>
                    <a:pt x="157" y="299"/>
                  </a:lnTo>
                  <a:lnTo>
                    <a:pt x="163" y="289"/>
                  </a:lnTo>
                  <a:lnTo>
                    <a:pt x="163" y="289"/>
                  </a:lnTo>
                  <a:lnTo>
                    <a:pt x="168" y="276"/>
                  </a:lnTo>
                  <a:lnTo>
                    <a:pt x="173" y="265"/>
                  </a:lnTo>
                  <a:lnTo>
                    <a:pt x="175" y="251"/>
                  </a:lnTo>
                  <a:lnTo>
                    <a:pt x="178" y="236"/>
                  </a:lnTo>
                  <a:lnTo>
                    <a:pt x="182" y="202"/>
                  </a:lnTo>
                  <a:lnTo>
                    <a:pt x="184" y="164"/>
                  </a:lnTo>
                  <a:lnTo>
                    <a:pt x="184" y="164"/>
                  </a:lnTo>
                  <a:lnTo>
                    <a:pt x="182" y="126"/>
                  </a:lnTo>
                  <a:lnTo>
                    <a:pt x="178" y="93"/>
                  </a:lnTo>
                  <a:lnTo>
                    <a:pt x="175" y="79"/>
                  </a:lnTo>
                  <a:lnTo>
                    <a:pt x="173" y="65"/>
                  </a:lnTo>
                  <a:lnTo>
                    <a:pt x="168" y="53"/>
                  </a:lnTo>
                  <a:lnTo>
                    <a:pt x="163" y="42"/>
                  </a:lnTo>
                  <a:lnTo>
                    <a:pt x="163" y="42"/>
                  </a:lnTo>
                  <a:lnTo>
                    <a:pt x="157" y="32"/>
                  </a:lnTo>
                  <a:lnTo>
                    <a:pt x="152" y="24"/>
                  </a:lnTo>
                  <a:lnTo>
                    <a:pt x="143" y="17"/>
                  </a:lnTo>
                  <a:lnTo>
                    <a:pt x="135" y="11"/>
                  </a:lnTo>
                  <a:lnTo>
                    <a:pt x="126" y="6"/>
                  </a:lnTo>
                  <a:lnTo>
                    <a:pt x="115" y="3"/>
                  </a:lnTo>
                  <a:lnTo>
                    <a:pt x="104" y="1"/>
                  </a:lnTo>
                  <a:lnTo>
                    <a:pt x="93" y="0"/>
                  </a:lnTo>
                  <a:lnTo>
                    <a:pt x="93" y="0"/>
                  </a:lnTo>
                  <a:lnTo>
                    <a:pt x="80" y="1"/>
                  </a:lnTo>
                  <a:lnTo>
                    <a:pt x="69" y="3"/>
                  </a:lnTo>
                  <a:lnTo>
                    <a:pt x="59" y="6"/>
                  </a:lnTo>
                  <a:lnTo>
                    <a:pt x="51" y="11"/>
                  </a:lnTo>
                  <a:lnTo>
                    <a:pt x="42" y="17"/>
                  </a:lnTo>
                  <a:lnTo>
                    <a:pt x="34" y="24"/>
                  </a:lnTo>
                  <a:lnTo>
                    <a:pt x="28" y="32"/>
                  </a:lnTo>
                  <a:lnTo>
                    <a:pt x="23" y="42"/>
                  </a:lnTo>
                  <a:lnTo>
                    <a:pt x="23" y="42"/>
                  </a:lnTo>
                  <a:lnTo>
                    <a:pt x="17" y="52"/>
                  </a:lnTo>
                  <a:lnTo>
                    <a:pt x="13" y="65"/>
                  </a:lnTo>
                  <a:lnTo>
                    <a:pt x="9" y="79"/>
                  </a:lnTo>
                  <a:lnTo>
                    <a:pt x="6" y="93"/>
                  </a:lnTo>
                  <a:lnTo>
                    <a:pt x="2" y="126"/>
                  </a:lnTo>
                  <a:lnTo>
                    <a:pt x="0" y="1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4">
              <a:extLst>
                <a:ext uri="{FF2B5EF4-FFF2-40B4-BE49-F238E27FC236}">
                  <a16:creationId xmlns:a16="http://schemas.microsoft.com/office/drawing/2014/main" id="{2F702D9B-4F89-474B-81E9-6C6A486D7BFD}"/>
                </a:ext>
              </a:extLst>
            </p:cNvPr>
            <p:cNvSpPr>
              <a:spLocks noChangeArrowheads="1"/>
            </p:cNvSpPr>
            <p:nvPr/>
          </p:nvSpPr>
          <p:spPr bwMode="auto">
            <a:xfrm>
              <a:off x="3904" y="1736"/>
              <a:ext cx="107" cy="3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5">
              <a:extLst>
                <a:ext uri="{FF2B5EF4-FFF2-40B4-BE49-F238E27FC236}">
                  <a16:creationId xmlns:a16="http://schemas.microsoft.com/office/drawing/2014/main" id="{AEB8050C-4C28-47CA-85ED-7888315E351B}"/>
                </a:ext>
              </a:extLst>
            </p:cNvPr>
            <p:cNvSpPr>
              <a:spLocks noChangeArrowheads="1"/>
            </p:cNvSpPr>
            <p:nvPr/>
          </p:nvSpPr>
          <p:spPr bwMode="auto">
            <a:xfrm>
              <a:off x="3904" y="1627"/>
              <a:ext cx="107" cy="7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a:extLst>
                <a:ext uri="{FF2B5EF4-FFF2-40B4-BE49-F238E27FC236}">
                  <a16:creationId xmlns:a16="http://schemas.microsoft.com/office/drawing/2014/main" id="{564A4D1F-9CBC-4869-8537-1F90ACFF1A4A}"/>
                </a:ext>
              </a:extLst>
            </p:cNvPr>
            <p:cNvSpPr>
              <a:spLocks/>
            </p:cNvSpPr>
            <p:nvPr/>
          </p:nvSpPr>
          <p:spPr bwMode="auto">
            <a:xfrm>
              <a:off x="4053" y="1638"/>
              <a:ext cx="225" cy="420"/>
            </a:xfrm>
            <a:custGeom>
              <a:avLst/>
              <a:gdLst>
                <a:gd name="T0" fmla="*/ 348 w 452"/>
                <a:gd name="T1" fmla="*/ 669 h 841"/>
                <a:gd name="T2" fmla="*/ 348 w 452"/>
                <a:gd name="T3" fmla="*/ 669 h 841"/>
                <a:gd name="T4" fmla="*/ 370 w 452"/>
                <a:gd name="T5" fmla="*/ 667 h 841"/>
                <a:gd name="T6" fmla="*/ 396 w 452"/>
                <a:gd name="T7" fmla="*/ 664 h 841"/>
                <a:gd name="T8" fmla="*/ 422 w 452"/>
                <a:gd name="T9" fmla="*/ 657 h 841"/>
                <a:gd name="T10" fmla="*/ 452 w 452"/>
                <a:gd name="T11" fmla="*/ 648 h 841"/>
                <a:gd name="T12" fmla="*/ 452 w 452"/>
                <a:gd name="T13" fmla="*/ 806 h 841"/>
                <a:gd name="T14" fmla="*/ 452 w 452"/>
                <a:gd name="T15" fmla="*/ 806 h 841"/>
                <a:gd name="T16" fmla="*/ 429 w 452"/>
                <a:gd name="T17" fmla="*/ 816 h 841"/>
                <a:gd name="T18" fmla="*/ 410 w 452"/>
                <a:gd name="T19" fmla="*/ 823 h 841"/>
                <a:gd name="T20" fmla="*/ 389 w 452"/>
                <a:gd name="T21" fmla="*/ 828 h 841"/>
                <a:gd name="T22" fmla="*/ 369 w 452"/>
                <a:gd name="T23" fmla="*/ 834 h 841"/>
                <a:gd name="T24" fmla="*/ 369 w 452"/>
                <a:gd name="T25" fmla="*/ 834 h 841"/>
                <a:gd name="T26" fmla="*/ 349 w 452"/>
                <a:gd name="T27" fmla="*/ 837 h 841"/>
                <a:gd name="T28" fmla="*/ 327 w 452"/>
                <a:gd name="T29" fmla="*/ 840 h 841"/>
                <a:gd name="T30" fmla="*/ 303 w 452"/>
                <a:gd name="T31" fmla="*/ 841 h 841"/>
                <a:gd name="T32" fmla="*/ 278 w 452"/>
                <a:gd name="T33" fmla="*/ 841 h 841"/>
                <a:gd name="T34" fmla="*/ 278 w 452"/>
                <a:gd name="T35" fmla="*/ 841 h 841"/>
                <a:gd name="T36" fmla="*/ 251 w 452"/>
                <a:gd name="T37" fmla="*/ 841 h 841"/>
                <a:gd name="T38" fmla="*/ 227 w 452"/>
                <a:gd name="T39" fmla="*/ 838 h 841"/>
                <a:gd name="T40" fmla="*/ 206 w 452"/>
                <a:gd name="T41" fmla="*/ 834 h 841"/>
                <a:gd name="T42" fmla="*/ 185 w 452"/>
                <a:gd name="T43" fmla="*/ 828 h 841"/>
                <a:gd name="T44" fmla="*/ 167 w 452"/>
                <a:gd name="T45" fmla="*/ 820 h 841"/>
                <a:gd name="T46" fmla="*/ 150 w 452"/>
                <a:gd name="T47" fmla="*/ 812 h 841"/>
                <a:gd name="T48" fmla="*/ 136 w 452"/>
                <a:gd name="T49" fmla="*/ 800 h 841"/>
                <a:gd name="T50" fmla="*/ 124 w 452"/>
                <a:gd name="T51" fmla="*/ 788 h 841"/>
                <a:gd name="T52" fmla="*/ 124 w 452"/>
                <a:gd name="T53" fmla="*/ 788 h 841"/>
                <a:gd name="T54" fmla="*/ 113 w 452"/>
                <a:gd name="T55" fmla="*/ 774 h 841"/>
                <a:gd name="T56" fmla="*/ 103 w 452"/>
                <a:gd name="T57" fmla="*/ 757 h 841"/>
                <a:gd name="T58" fmla="*/ 94 w 452"/>
                <a:gd name="T59" fmla="*/ 739 h 841"/>
                <a:gd name="T60" fmla="*/ 87 w 452"/>
                <a:gd name="T61" fmla="*/ 719 h 841"/>
                <a:gd name="T62" fmla="*/ 82 w 452"/>
                <a:gd name="T63" fmla="*/ 698 h 841"/>
                <a:gd name="T64" fmla="*/ 79 w 452"/>
                <a:gd name="T65" fmla="*/ 674 h 841"/>
                <a:gd name="T66" fmla="*/ 76 w 452"/>
                <a:gd name="T67" fmla="*/ 649 h 841"/>
                <a:gd name="T68" fmla="*/ 76 w 452"/>
                <a:gd name="T69" fmla="*/ 622 h 841"/>
                <a:gd name="T70" fmla="*/ 76 w 452"/>
                <a:gd name="T71" fmla="*/ 362 h 841"/>
                <a:gd name="T72" fmla="*/ 0 w 452"/>
                <a:gd name="T73" fmla="*/ 362 h 841"/>
                <a:gd name="T74" fmla="*/ 0 w 452"/>
                <a:gd name="T75" fmla="*/ 198 h 841"/>
                <a:gd name="T76" fmla="*/ 76 w 452"/>
                <a:gd name="T77" fmla="*/ 198 h 841"/>
                <a:gd name="T78" fmla="*/ 76 w 452"/>
                <a:gd name="T79" fmla="*/ 36 h 841"/>
                <a:gd name="T80" fmla="*/ 291 w 452"/>
                <a:gd name="T81" fmla="*/ 0 h 841"/>
                <a:gd name="T82" fmla="*/ 291 w 452"/>
                <a:gd name="T83" fmla="*/ 198 h 841"/>
                <a:gd name="T84" fmla="*/ 426 w 452"/>
                <a:gd name="T85" fmla="*/ 198 h 841"/>
                <a:gd name="T86" fmla="*/ 426 w 452"/>
                <a:gd name="T87" fmla="*/ 362 h 841"/>
                <a:gd name="T88" fmla="*/ 291 w 452"/>
                <a:gd name="T89" fmla="*/ 362 h 841"/>
                <a:gd name="T90" fmla="*/ 291 w 452"/>
                <a:gd name="T91" fmla="*/ 608 h 841"/>
                <a:gd name="T92" fmla="*/ 291 w 452"/>
                <a:gd name="T93" fmla="*/ 608 h 841"/>
                <a:gd name="T94" fmla="*/ 292 w 452"/>
                <a:gd name="T95" fmla="*/ 622 h 841"/>
                <a:gd name="T96" fmla="*/ 293 w 452"/>
                <a:gd name="T97" fmla="*/ 635 h 841"/>
                <a:gd name="T98" fmla="*/ 299 w 452"/>
                <a:gd name="T99" fmla="*/ 645 h 841"/>
                <a:gd name="T100" fmla="*/ 305 w 452"/>
                <a:gd name="T101" fmla="*/ 653 h 841"/>
                <a:gd name="T102" fmla="*/ 313 w 452"/>
                <a:gd name="T103" fmla="*/ 660 h 841"/>
                <a:gd name="T104" fmla="*/ 323 w 452"/>
                <a:gd name="T105" fmla="*/ 666 h 841"/>
                <a:gd name="T106" fmla="*/ 334 w 452"/>
                <a:gd name="T107" fmla="*/ 669 h 841"/>
                <a:gd name="T108" fmla="*/ 348 w 452"/>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841">
                  <a:moveTo>
                    <a:pt x="348" y="669"/>
                  </a:moveTo>
                  <a:lnTo>
                    <a:pt x="348" y="669"/>
                  </a:lnTo>
                  <a:lnTo>
                    <a:pt x="370" y="667"/>
                  </a:lnTo>
                  <a:lnTo>
                    <a:pt x="396" y="664"/>
                  </a:lnTo>
                  <a:lnTo>
                    <a:pt x="422" y="657"/>
                  </a:lnTo>
                  <a:lnTo>
                    <a:pt x="452" y="648"/>
                  </a:lnTo>
                  <a:lnTo>
                    <a:pt x="452" y="806"/>
                  </a:lnTo>
                  <a:lnTo>
                    <a:pt x="452" y="806"/>
                  </a:lnTo>
                  <a:lnTo>
                    <a:pt x="429" y="816"/>
                  </a:lnTo>
                  <a:lnTo>
                    <a:pt x="410" y="823"/>
                  </a:lnTo>
                  <a:lnTo>
                    <a:pt x="389" y="828"/>
                  </a:lnTo>
                  <a:lnTo>
                    <a:pt x="369" y="834"/>
                  </a:lnTo>
                  <a:lnTo>
                    <a:pt x="369" y="834"/>
                  </a:lnTo>
                  <a:lnTo>
                    <a:pt x="349" y="837"/>
                  </a:lnTo>
                  <a:lnTo>
                    <a:pt x="327" y="840"/>
                  </a:lnTo>
                  <a:lnTo>
                    <a:pt x="303" y="841"/>
                  </a:lnTo>
                  <a:lnTo>
                    <a:pt x="278" y="841"/>
                  </a:lnTo>
                  <a:lnTo>
                    <a:pt x="278" y="841"/>
                  </a:lnTo>
                  <a:lnTo>
                    <a:pt x="251" y="841"/>
                  </a:lnTo>
                  <a:lnTo>
                    <a:pt x="227" y="838"/>
                  </a:lnTo>
                  <a:lnTo>
                    <a:pt x="206" y="834"/>
                  </a:lnTo>
                  <a:lnTo>
                    <a:pt x="185" y="828"/>
                  </a:lnTo>
                  <a:lnTo>
                    <a:pt x="167" y="820"/>
                  </a:lnTo>
                  <a:lnTo>
                    <a:pt x="150" y="812"/>
                  </a:lnTo>
                  <a:lnTo>
                    <a:pt x="136" y="800"/>
                  </a:lnTo>
                  <a:lnTo>
                    <a:pt x="124" y="788"/>
                  </a:lnTo>
                  <a:lnTo>
                    <a:pt x="124" y="788"/>
                  </a:lnTo>
                  <a:lnTo>
                    <a:pt x="113" y="774"/>
                  </a:lnTo>
                  <a:lnTo>
                    <a:pt x="103" y="757"/>
                  </a:lnTo>
                  <a:lnTo>
                    <a:pt x="94" y="739"/>
                  </a:lnTo>
                  <a:lnTo>
                    <a:pt x="87" y="719"/>
                  </a:lnTo>
                  <a:lnTo>
                    <a:pt x="82" y="698"/>
                  </a:lnTo>
                  <a:lnTo>
                    <a:pt x="79" y="674"/>
                  </a:lnTo>
                  <a:lnTo>
                    <a:pt x="76" y="649"/>
                  </a:lnTo>
                  <a:lnTo>
                    <a:pt x="76" y="622"/>
                  </a:lnTo>
                  <a:lnTo>
                    <a:pt x="76" y="362"/>
                  </a:lnTo>
                  <a:lnTo>
                    <a:pt x="0" y="362"/>
                  </a:lnTo>
                  <a:lnTo>
                    <a:pt x="0" y="198"/>
                  </a:lnTo>
                  <a:lnTo>
                    <a:pt x="76" y="198"/>
                  </a:lnTo>
                  <a:lnTo>
                    <a:pt x="76" y="36"/>
                  </a:lnTo>
                  <a:lnTo>
                    <a:pt x="291" y="0"/>
                  </a:lnTo>
                  <a:lnTo>
                    <a:pt x="291" y="198"/>
                  </a:lnTo>
                  <a:lnTo>
                    <a:pt x="426" y="198"/>
                  </a:lnTo>
                  <a:lnTo>
                    <a:pt x="426" y="362"/>
                  </a:lnTo>
                  <a:lnTo>
                    <a:pt x="291" y="362"/>
                  </a:lnTo>
                  <a:lnTo>
                    <a:pt x="291" y="608"/>
                  </a:lnTo>
                  <a:lnTo>
                    <a:pt x="291" y="608"/>
                  </a:lnTo>
                  <a:lnTo>
                    <a:pt x="292" y="622"/>
                  </a:lnTo>
                  <a:lnTo>
                    <a:pt x="293" y="635"/>
                  </a:lnTo>
                  <a:lnTo>
                    <a:pt x="299" y="645"/>
                  </a:lnTo>
                  <a:lnTo>
                    <a:pt x="305" y="653"/>
                  </a:lnTo>
                  <a:lnTo>
                    <a:pt x="313" y="660"/>
                  </a:lnTo>
                  <a:lnTo>
                    <a:pt x="323" y="666"/>
                  </a:lnTo>
                  <a:lnTo>
                    <a:pt x="334" y="669"/>
                  </a:lnTo>
                  <a:lnTo>
                    <a:pt x="348" y="6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a:extLst>
                <a:ext uri="{FF2B5EF4-FFF2-40B4-BE49-F238E27FC236}">
                  <a16:creationId xmlns:a16="http://schemas.microsoft.com/office/drawing/2014/main" id="{F35FA86B-AA85-45B9-AE82-3D0249AA8734}"/>
                </a:ext>
              </a:extLst>
            </p:cNvPr>
            <p:cNvSpPr>
              <a:spLocks/>
            </p:cNvSpPr>
            <p:nvPr/>
          </p:nvSpPr>
          <p:spPr bwMode="auto">
            <a:xfrm>
              <a:off x="4053" y="1638"/>
              <a:ext cx="225" cy="420"/>
            </a:xfrm>
            <a:custGeom>
              <a:avLst/>
              <a:gdLst>
                <a:gd name="T0" fmla="*/ 348 w 452"/>
                <a:gd name="T1" fmla="*/ 669 h 841"/>
                <a:gd name="T2" fmla="*/ 348 w 452"/>
                <a:gd name="T3" fmla="*/ 669 h 841"/>
                <a:gd name="T4" fmla="*/ 370 w 452"/>
                <a:gd name="T5" fmla="*/ 667 h 841"/>
                <a:gd name="T6" fmla="*/ 396 w 452"/>
                <a:gd name="T7" fmla="*/ 664 h 841"/>
                <a:gd name="T8" fmla="*/ 422 w 452"/>
                <a:gd name="T9" fmla="*/ 657 h 841"/>
                <a:gd name="T10" fmla="*/ 452 w 452"/>
                <a:gd name="T11" fmla="*/ 648 h 841"/>
                <a:gd name="T12" fmla="*/ 452 w 452"/>
                <a:gd name="T13" fmla="*/ 806 h 841"/>
                <a:gd name="T14" fmla="*/ 452 w 452"/>
                <a:gd name="T15" fmla="*/ 806 h 841"/>
                <a:gd name="T16" fmla="*/ 429 w 452"/>
                <a:gd name="T17" fmla="*/ 816 h 841"/>
                <a:gd name="T18" fmla="*/ 410 w 452"/>
                <a:gd name="T19" fmla="*/ 823 h 841"/>
                <a:gd name="T20" fmla="*/ 389 w 452"/>
                <a:gd name="T21" fmla="*/ 828 h 841"/>
                <a:gd name="T22" fmla="*/ 369 w 452"/>
                <a:gd name="T23" fmla="*/ 834 h 841"/>
                <a:gd name="T24" fmla="*/ 369 w 452"/>
                <a:gd name="T25" fmla="*/ 834 h 841"/>
                <a:gd name="T26" fmla="*/ 349 w 452"/>
                <a:gd name="T27" fmla="*/ 837 h 841"/>
                <a:gd name="T28" fmla="*/ 327 w 452"/>
                <a:gd name="T29" fmla="*/ 840 h 841"/>
                <a:gd name="T30" fmla="*/ 303 w 452"/>
                <a:gd name="T31" fmla="*/ 841 h 841"/>
                <a:gd name="T32" fmla="*/ 278 w 452"/>
                <a:gd name="T33" fmla="*/ 841 h 841"/>
                <a:gd name="T34" fmla="*/ 278 w 452"/>
                <a:gd name="T35" fmla="*/ 841 h 841"/>
                <a:gd name="T36" fmla="*/ 251 w 452"/>
                <a:gd name="T37" fmla="*/ 841 h 841"/>
                <a:gd name="T38" fmla="*/ 227 w 452"/>
                <a:gd name="T39" fmla="*/ 838 h 841"/>
                <a:gd name="T40" fmla="*/ 206 w 452"/>
                <a:gd name="T41" fmla="*/ 834 h 841"/>
                <a:gd name="T42" fmla="*/ 185 w 452"/>
                <a:gd name="T43" fmla="*/ 828 h 841"/>
                <a:gd name="T44" fmla="*/ 167 w 452"/>
                <a:gd name="T45" fmla="*/ 820 h 841"/>
                <a:gd name="T46" fmla="*/ 150 w 452"/>
                <a:gd name="T47" fmla="*/ 812 h 841"/>
                <a:gd name="T48" fmla="*/ 136 w 452"/>
                <a:gd name="T49" fmla="*/ 800 h 841"/>
                <a:gd name="T50" fmla="*/ 124 w 452"/>
                <a:gd name="T51" fmla="*/ 788 h 841"/>
                <a:gd name="T52" fmla="*/ 124 w 452"/>
                <a:gd name="T53" fmla="*/ 788 h 841"/>
                <a:gd name="T54" fmla="*/ 113 w 452"/>
                <a:gd name="T55" fmla="*/ 774 h 841"/>
                <a:gd name="T56" fmla="*/ 103 w 452"/>
                <a:gd name="T57" fmla="*/ 757 h 841"/>
                <a:gd name="T58" fmla="*/ 94 w 452"/>
                <a:gd name="T59" fmla="*/ 739 h 841"/>
                <a:gd name="T60" fmla="*/ 87 w 452"/>
                <a:gd name="T61" fmla="*/ 719 h 841"/>
                <a:gd name="T62" fmla="*/ 82 w 452"/>
                <a:gd name="T63" fmla="*/ 698 h 841"/>
                <a:gd name="T64" fmla="*/ 79 w 452"/>
                <a:gd name="T65" fmla="*/ 674 h 841"/>
                <a:gd name="T66" fmla="*/ 76 w 452"/>
                <a:gd name="T67" fmla="*/ 649 h 841"/>
                <a:gd name="T68" fmla="*/ 76 w 452"/>
                <a:gd name="T69" fmla="*/ 622 h 841"/>
                <a:gd name="T70" fmla="*/ 76 w 452"/>
                <a:gd name="T71" fmla="*/ 362 h 841"/>
                <a:gd name="T72" fmla="*/ 0 w 452"/>
                <a:gd name="T73" fmla="*/ 362 h 841"/>
                <a:gd name="T74" fmla="*/ 0 w 452"/>
                <a:gd name="T75" fmla="*/ 198 h 841"/>
                <a:gd name="T76" fmla="*/ 76 w 452"/>
                <a:gd name="T77" fmla="*/ 198 h 841"/>
                <a:gd name="T78" fmla="*/ 76 w 452"/>
                <a:gd name="T79" fmla="*/ 36 h 841"/>
                <a:gd name="T80" fmla="*/ 291 w 452"/>
                <a:gd name="T81" fmla="*/ 0 h 841"/>
                <a:gd name="T82" fmla="*/ 291 w 452"/>
                <a:gd name="T83" fmla="*/ 198 h 841"/>
                <a:gd name="T84" fmla="*/ 426 w 452"/>
                <a:gd name="T85" fmla="*/ 198 h 841"/>
                <a:gd name="T86" fmla="*/ 426 w 452"/>
                <a:gd name="T87" fmla="*/ 362 h 841"/>
                <a:gd name="T88" fmla="*/ 291 w 452"/>
                <a:gd name="T89" fmla="*/ 362 h 841"/>
                <a:gd name="T90" fmla="*/ 291 w 452"/>
                <a:gd name="T91" fmla="*/ 608 h 841"/>
                <a:gd name="T92" fmla="*/ 291 w 452"/>
                <a:gd name="T93" fmla="*/ 608 h 841"/>
                <a:gd name="T94" fmla="*/ 292 w 452"/>
                <a:gd name="T95" fmla="*/ 622 h 841"/>
                <a:gd name="T96" fmla="*/ 293 w 452"/>
                <a:gd name="T97" fmla="*/ 635 h 841"/>
                <a:gd name="T98" fmla="*/ 299 w 452"/>
                <a:gd name="T99" fmla="*/ 645 h 841"/>
                <a:gd name="T100" fmla="*/ 305 w 452"/>
                <a:gd name="T101" fmla="*/ 653 h 841"/>
                <a:gd name="T102" fmla="*/ 313 w 452"/>
                <a:gd name="T103" fmla="*/ 660 h 841"/>
                <a:gd name="T104" fmla="*/ 323 w 452"/>
                <a:gd name="T105" fmla="*/ 666 h 841"/>
                <a:gd name="T106" fmla="*/ 334 w 452"/>
                <a:gd name="T107" fmla="*/ 669 h 841"/>
                <a:gd name="T108" fmla="*/ 348 w 452"/>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841">
                  <a:moveTo>
                    <a:pt x="348" y="669"/>
                  </a:moveTo>
                  <a:lnTo>
                    <a:pt x="348" y="669"/>
                  </a:lnTo>
                  <a:lnTo>
                    <a:pt x="370" y="667"/>
                  </a:lnTo>
                  <a:lnTo>
                    <a:pt x="396" y="664"/>
                  </a:lnTo>
                  <a:lnTo>
                    <a:pt x="422" y="657"/>
                  </a:lnTo>
                  <a:lnTo>
                    <a:pt x="452" y="648"/>
                  </a:lnTo>
                  <a:lnTo>
                    <a:pt x="452" y="806"/>
                  </a:lnTo>
                  <a:lnTo>
                    <a:pt x="452" y="806"/>
                  </a:lnTo>
                  <a:lnTo>
                    <a:pt x="429" y="816"/>
                  </a:lnTo>
                  <a:lnTo>
                    <a:pt x="410" y="823"/>
                  </a:lnTo>
                  <a:lnTo>
                    <a:pt x="389" y="828"/>
                  </a:lnTo>
                  <a:lnTo>
                    <a:pt x="369" y="834"/>
                  </a:lnTo>
                  <a:lnTo>
                    <a:pt x="369" y="834"/>
                  </a:lnTo>
                  <a:lnTo>
                    <a:pt x="349" y="837"/>
                  </a:lnTo>
                  <a:lnTo>
                    <a:pt x="327" y="840"/>
                  </a:lnTo>
                  <a:lnTo>
                    <a:pt x="303" y="841"/>
                  </a:lnTo>
                  <a:lnTo>
                    <a:pt x="278" y="841"/>
                  </a:lnTo>
                  <a:lnTo>
                    <a:pt x="278" y="841"/>
                  </a:lnTo>
                  <a:lnTo>
                    <a:pt x="251" y="841"/>
                  </a:lnTo>
                  <a:lnTo>
                    <a:pt x="227" y="838"/>
                  </a:lnTo>
                  <a:lnTo>
                    <a:pt x="206" y="834"/>
                  </a:lnTo>
                  <a:lnTo>
                    <a:pt x="185" y="828"/>
                  </a:lnTo>
                  <a:lnTo>
                    <a:pt x="167" y="820"/>
                  </a:lnTo>
                  <a:lnTo>
                    <a:pt x="150" y="812"/>
                  </a:lnTo>
                  <a:lnTo>
                    <a:pt x="136" y="800"/>
                  </a:lnTo>
                  <a:lnTo>
                    <a:pt x="124" y="788"/>
                  </a:lnTo>
                  <a:lnTo>
                    <a:pt x="124" y="788"/>
                  </a:lnTo>
                  <a:lnTo>
                    <a:pt x="113" y="774"/>
                  </a:lnTo>
                  <a:lnTo>
                    <a:pt x="103" y="757"/>
                  </a:lnTo>
                  <a:lnTo>
                    <a:pt x="94" y="739"/>
                  </a:lnTo>
                  <a:lnTo>
                    <a:pt x="87" y="719"/>
                  </a:lnTo>
                  <a:lnTo>
                    <a:pt x="82" y="698"/>
                  </a:lnTo>
                  <a:lnTo>
                    <a:pt x="79" y="674"/>
                  </a:lnTo>
                  <a:lnTo>
                    <a:pt x="76" y="649"/>
                  </a:lnTo>
                  <a:lnTo>
                    <a:pt x="76" y="622"/>
                  </a:lnTo>
                  <a:lnTo>
                    <a:pt x="76" y="362"/>
                  </a:lnTo>
                  <a:lnTo>
                    <a:pt x="0" y="362"/>
                  </a:lnTo>
                  <a:lnTo>
                    <a:pt x="0" y="198"/>
                  </a:lnTo>
                  <a:lnTo>
                    <a:pt x="76" y="198"/>
                  </a:lnTo>
                  <a:lnTo>
                    <a:pt x="76" y="36"/>
                  </a:lnTo>
                  <a:lnTo>
                    <a:pt x="291" y="0"/>
                  </a:lnTo>
                  <a:lnTo>
                    <a:pt x="291" y="198"/>
                  </a:lnTo>
                  <a:lnTo>
                    <a:pt x="426" y="198"/>
                  </a:lnTo>
                  <a:lnTo>
                    <a:pt x="426" y="362"/>
                  </a:lnTo>
                  <a:lnTo>
                    <a:pt x="291" y="362"/>
                  </a:lnTo>
                  <a:lnTo>
                    <a:pt x="291" y="608"/>
                  </a:lnTo>
                  <a:lnTo>
                    <a:pt x="291" y="608"/>
                  </a:lnTo>
                  <a:lnTo>
                    <a:pt x="292" y="622"/>
                  </a:lnTo>
                  <a:lnTo>
                    <a:pt x="293" y="635"/>
                  </a:lnTo>
                  <a:lnTo>
                    <a:pt x="299" y="645"/>
                  </a:lnTo>
                  <a:lnTo>
                    <a:pt x="305" y="653"/>
                  </a:lnTo>
                  <a:lnTo>
                    <a:pt x="313" y="660"/>
                  </a:lnTo>
                  <a:lnTo>
                    <a:pt x="323" y="666"/>
                  </a:lnTo>
                  <a:lnTo>
                    <a:pt x="334" y="669"/>
                  </a:lnTo>
                  <a:lnTo>
                    <a:pt x="348" y="6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a:extLst>
                <a:ext uri="{FF2B5EF4-FFF2-40B4-BE49-F238E27FC236}">
                  <a16:creationId xmlns:a16="http://schemas.microsoft.com/office/drawing/2014/main" id="{D51E6942-C6A8-4725-B4F8-31CC01DE4593}"/>
                </a:ext>
              </a:extLst>
            </p:cNvPr>
            <p:cNvSpPr>
              <a:spLocks/>
            </p:cNvSpPr>
            <p:nvPr/>
          </p:nvSpPr>
          <p:spPr bwMode="auto">
            <a:xfrm>
              <a:off x="4299" y="1638"/>
              <a:ext cx="225" cy="420"/>
            </a:xfrm>
            <a:custGeom>
              <a:avLst/>
              <a:gdLst>
                <a:gd name="T0" fmla="*/ 347 w 450"/>
                <a:gd name="T1" fmla="*/ 669 h 841"/>
                <a:gd name="T2" fmla="*/ 347 w 450"/>
                <a:gd name="T3" fmla="*/ 669 h 841"/>
                <a:gd name="T4" fmla="*/ 370 w 450"/>
                <a:gd name="T5" fmla="*/ 667 h 841"/>
                <a:gd name="T6" fmla="*/ 395 w 450"/>
                <a:gd name="T7" fmla="*/ 664 h 841"/>
                <a:gd name="T8" fmla="*/ 422 w 450"/>
                <a:gd name="T9" fmla="*/ 657 h 841"/>
                <a:gd name="T10" fmla="*/ 450 w 450"/>
                <a:gd name="T11" fmla="*/ 648 h 841"/>
                <a:gd name="T12" fmla="*/ 450 w 450"/>
                <a:gd name="T13" fmla="*/ 806 h 841"/>
                <a:gd name="T14" fmla="*/ 450 w 450"/>
                <a:gd name="T15" fmla="*/ 806 h 841"/>
                <a:gd name="T16" fmla="*/ 429 w 450"/>
                <a:gd name="T17" fmla="*/ 816 h 841"/>
                <a:gd name="T18" fmla="*/ 408 w 450"/>
                <a:gd name="T19" fmla="*/ 823 h 841"/>
                <a:gd name="T20" fmla="*/ 388 w 450"/>
                <a:gd name="T21" fmla="*/ 828 h 841"/>
                <a:gd name="T22" fmla="*/ 368 w 450"/>
                <a:gd name="T23" fmla="*/ 834 h 841"/>
                <a:gd name="T24" fmla="*/ 368 w 450"/>
                <a:gd name="T25" fmla="*/ 834 h 841"/>
                <a:gd name="T26" fmla="*/ 347 w 450"/>
                <a:gd name="T27" fmla="*/ 837 h 841"/>
                <a:gd name="T28" fmla="*/ 326 w 450"/>
                <a:gd name="T29" fmla="*/ 840 h 841"/>
                <a:gd name="T30" fmla="*/ 303 w 450"/>
                <a:gd name="T31" fmla="*/ 841 h 841"/>
                <a:gd name="T32" fmla="*/ 277 w 450"/>
                <a:gd name="T33" fmla="*/ 841 h 841"/>
                <a:gd name="T34" fmla="*/ 277 w 450"/>
                <a:gd name="T35" fmla="*/ 841 h 841"/>
                <a:gd name="T36" fmla="*/ 251 w 450"/>
                <a:gd name="T37" fmla="*/ 841 h 841"/>
                <a:gd name="T38" fmla="*/ 227 w 450"/>
                <a:gd name="T39" fmla="*/ 838 h 841"/>
                <a:gd name="T40" fmla="*/ 204 w 450"/>
                <a:gd name="T41" fmla="*/ 834 h 841"/>
                <a:gd name="T42" fmla="*/ 185 w 450"/>
                <a:gd name="T43" fmla="*/ 828 h 841"/>
                <a:gd name="T44" fmla="*/ 167 w 450"/>
                <a:gd name="T45" fmla="*/ 820 h 841"/>
                <a:gd name="T46" fmla="*/ 150 w 450"/>
                <a:gd name="T47" fmla="*/ 812 h 841"/>
                <a:gd name="T48" fmla="*/ 136 w 450"/>
                <a:gd name="T49" fmla="*/ 800 h 841"/>
                <a:gd name="T50" fmla="*/ 122 w 450"/>
                <a:gd name="T51" fmla="*/ 788 h 841"/>
                <a:gd name="T52" fmla="*/ 122 w 450"/>
                <a:gd name="T53" fmla="*/ 788 h 841"/>
                <a:gd name="T54" fmla="*/ 111 w 450"/>
                <a:gd name="T55" fmla="*/ 774 h 841"/>
                <a:gd name="T56" fmla="*/ 102 w 450"/>
                <a:gd name="T57" fmla="*/ 757 h 841"/>
                <a:gd name="T58" fmla="*/ 94 w 450"/>
                <a:gd name="T59" fmla="*/ 739 h 841"/>
                <a:gd name="T60" fmla="*/ 87 w 450"/>
                <a:gd name="T61" fmla="*/ 719 h 841"/>
                <a:gd name="T62" fmla="*/ 81 w 450"/>
                <a:gd name="T63" fmla="*/ 698 h 841"/>
                <a:gd name="T64" fmla="*/ 78 w 450"/>
                <a:gd name="T65" fmla="*/ 674 h 841"/>
                <a:gd name="T66" fmla="*/ 75 w 450"/>
                <a:gd name="T67" fmla="*/ 649 h 841"/>
                <a:gd name="T68" fmla="*/ 75 w 450"/>
                <a:gd name="T69" fmla="*/ 622 h 841"/>
                <a:gd name="T70" fmla="*/ 75 w 450"/>
                <a:gd name="T71" fmla="*/ 362 h 841"/>
                <a:gd name="T72" fmla="*/ 0 w 450"/>
                <a:gd name="T73" fmla="*/ 362 h 841"/>
                <a:gd name="T74" fmla="*/ 0 w 450"/>
                <a:gd name="T75" fmla="*/ 198 h 841"/>
                <a:gd name="T76" fmla="*/ 75 w 450"/>
                <a:gd name="T77" fmla="*/ 198 h 841"/>
                <a:gd name="T78" fmla="*/ 75 w 450"/>
                <a:gd name="T79" fmla="*/ 35 h 841"/>
                <a:gd name="T80" fmla="*/ 290 w 450"/>
                <a:gd name="T81" fmla="*/ 0 h 841"/>
                <a:gd name="T82" fmla="*/ 290 w 450"/>
                <a:gd name="T83" fmla="*/ 198 h 841"/>
                <a:gd name="T84" fmla="*/ 426 w 450"/>
                <a:gd name="T85" fmla="*/ 198 h 841"/>
                <a:gd name="T86" fmla="*/ 426 w 450"/>
                <a:gd name="T87" fmla="*/ 362 h 841"/>
                <a:gd name="T88" fmla="*/ 290 w 450"/>
                <a:gd name="T89" fmla="*/ 362 h 841"/>
                <a:gd name="T90" fmla="*/ 290 w 450"/>
                <a:gd name="T91" fmla="*/ 608 h 841"/>
                <a:gd name="T92" fmla="*/ 290 w 450"/>
                <a:gd name="T93" fmla="*/ 608 h 841"/>
                <a:gd name="T94" fmla="*/ 290 w 450"/>
                <a:gd name="T95" fmla="*/ 622 h 841"/>
                <a:gd name="T96" fmla="*/ 293 w 450"/>
                <a:gd name="T97" fmla="*/ 635 h 841"/>
                <a:gd name="T98" fmla="*/ 298 w 450"/>
                <a:gd name="T99" fmla="*/ 645 h 841"/>
                <a:gd name="T100" fmla="*/ 304 w 450"/>
                <a:gd name="T101" fmla="*/ 653 h 841"/>
                <a:gd name="T102" fmla="*/ 312 w 450"/>
                <a:gd name="T103" fmla="*/ 660 h 841"/>
                <a:gd name="T104" fmla="*/ 322 w 450"/>
                <a:gd name="T105" fmla="*/ 666 h 841"/>
                <a:gd name="T106" fmla="*/ 333 w 450"/>
                <a:gd name="T107" fmla="*/ 669 h 841"/>
                <a:gd name="T108" fmla="*/ 347 w 450"/>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841">
                  <a:moveTo>
                    <a:pt x="347" y="669"/>
                  </a:moveTo>
                  <a:lnTo>
                    <a:pt x="347" y="669"/>
                  </a:lnTo>
                  <a:lnTo>
                    <a:pt x="370" y="667"/>
                  </a:lnTo>
                  <a:lnTo>
                    <a:pt x="395" y="664"/>
                  </a:lnTo>
                  <a:lnTo>
                    <a:pt x="422" y="657"/>
                  </a:lnTo>
                  <a:lnTo>
                    <a:pt x="450" y="648"/>
                  </a:lnTo>
                  <a:lnTo>
                    <a:pt x="450" y="806"/>
                  </a:lnTo>
                  <a:lnTo>
                    <a:pt x="450" y="806"/>
                  </a:lnTo>
                  <a:lnTo>
                    <a:pt x="429" y="816"/>
                  </a:lnTo>
                  <a:lnTo>
                    <a:pt x="408" y="823"/>
                  </a:lnTo>
                  <a:lnTo>
                    <a:pt x="388" y="828"/>
                  </a:lnTo>
                  <a:lnTo>
                    <a:pt x="368" y="834"/>
                  </a:lnTo>
                  <a:lnTo>
                    <a:pt x="368" y="834"/>
                  </a:lnTo>
                  <a:lnTo>
                    <a:pt x="347" y="837"/>
                  </a:lnTo>
                  <a:lnTo>
                    <a:pt x="326" y="840"/>
                  </a:lnTo>
                  <a:lnTo>
                    <a:pt x="303" y="841"/>
                  </a:lnTo>
                  <a:lnTo>
                    <a:pt x="277" y="841"/>
                  </a:lnTo>
                  <a:lnTo>
                    <a:pt x="277" y="841"/>
                  </a:lnTo>
                  <a:lnTo>
                    <a:pt x="251" y="841"/>
                  </a:lnTo>
                  <a:lnTo>
                    <a:pt x="227" y="838"/>
                  </a:lnTo>
                  <a:lnTo>
                    <a:pt x="204" y="834"/>
                  </a:lnTo>
                  <a:lnTo>
                    <a:pt x="185" y="828"/>
                  </a:lnTo>
                  <a:lnTo>
                    <a:pt x="167" y="820"/>
                  </a:lnTo>
                  <a:lnTo>
                    <a:pt x="150" y="812"/>
                  </a:lnTo>
                  <a:lnTo>
                    <a:pt x="136" y="800"/>
                  </a:lnTo>
                  <a:lnTo>
                    <a:pt x="122" y="788"/>
                  </a:lnTo>
                  <a:lnTo>
                    <a:pt x="122" y="788"/>
                  </a:lnTo>
                  <a:lnTo>
                    <a:pt x="111" y="774"/>
                  </a:lnTo>
                  <a:lnTo>
                    <a:pt x="102" y="757"/>
                  </a:lnTo>
                  <a:lnTo>
                    <a:pt x="94" y="739"/>
                  </a:lnTo>
                  <a:lnTo>
                    <a:pt x="87" y="719"/>
                  </a:lnTo>
                  <a:lnTo>
                    <a:pt x="81" y="698"/>
                  </a:lnTo>
                  <a:lnTo>
                    <a:pt x="78" y="674"/>
                  </a:lnTo>
                  <a:lnTo>
                    <a:pt x="75" y="649"/>
                  </a:lnTo>
                  <a:lnTo>
                    <a:pt x="75" y="622"/>
                  </a:lnTo>
                  <a:lnTo>
                    <a:pt x="75" y="362"/>
                  </a:lnTo>
                  <a:lnTo>
                    <a:pt x="0" y="362"/>
                  </a:lnTo>
                  <a:lnTo>
                    <a:pt x="0" y="198"/>
                  </a:lnTo>
                  <a:lnTo>
                    <a:pt x="75" y="198"/>
                  </a:lnTo>
                  <a:lnTo>
                    <a:pt x="75" y="35"/>
                  </a:lnTo>
                  <a:lnTo>
                    <a:pt x="290" y="0"/>
                  </a:lnTo>
                  <a:lnTo>
                    <a:pt x="290" y="198"/>
                  </a:lnTo>
                  <a:lnTo>
                    <a:pt x="426" y="198"/>
                  </a:lnTo>
                  <a:lnTo>
                    <a:pt x="426" y="362"/>
                  </a:lnTo>
                  <a:lnTo>
                    <a:pt x="290" y="362"/>
                  </a:lnTo>
                  <a:lnTo>
                    <a:pt x="290" y="608"/>
                  </a:lnTo>
                  <a:lnTo>
                    <a:pt x="290" y="608"/>
                  </a:lnTo>
                  <a:lnTo>
                    <a:pt x="290" y="622"/>
                  </a:lnTo>
                  <a:lnTo>
                    <a:pt x="293" y="635"/>
                  </a:lnTo>
                  <a:lnTo>
                    <a:pt x="298" y="645"/>
                  </a:lnTo>
                  <a:lnTo>
                    <a:pt x="304" y="653"/>
                  </a:lnTo>
                  <a:lnTo>
                    <a:pt x="312" y="660"/>
                  </a:lnTo>
                  <a:lnTo>
                    <a:pt x="322" y="666"/>
                  </a:lnTo>
                  <a:lnTo>
                    <a:pt x="333" y="669"/>
                  </a:lnTo>
                  <a:lnTo>
                    <a:pt x="347" y="6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a:extLst>
                <a:ext uri="{FF2B5EF4-FFF2-40B4-BE49-F238E27FC236}">
                  <a16:creationId xmlns:a16="http://schemas.microsoft.com/office/drawing/2014/main" id="{FC7F0B51-8A06-4B0F-AD23-509AA26C7DBA}"/>
                </a:ext>
              </a:extLst>
            </p:cNvPr>
            <p:cNvSpPr>
              <a:spLocks/>
            </p:cNvSpPr>
            <p:nvPr/>
          </p:nvSpPr>
          <p:spPr bwMode="auto">
            <a:xfrm>
              <a:off x="4299" y="1638"/>
              <a:ext cx="225" cy="420"/>
            </a:xfrm>
            <a:custGeom>
              <a:avLst/>
              <a:gdLst>
                <a:gd name="T0" fmla="*/ 347 w 450"/>
                <a:gd name="T1" fmla="*/ 669 h 841"/>
                <a:gd name="T2" fmla="*/ 347 w 450"/>
                <a:gd name="T3" fmla="*/ 669 h 841"/>
                <a:gd name="T4" fmla="*/ 370 w 450"/>
                <a:gd name="T5" fmla="*/ 667 h 841"/>
                <a:gd name="T6" fmla="*/ 395 w 450"/>
                <a:gd name="T7" fmla="*/ 664 h 841"/>
                <a:gd name="T8" fmla="*/ 422 w 450"/>
                <a:gd name="T9" fmla="*/ 657 h 841"/>
                <a:gd name="T10" fmla="*/ 450 w 450"/>
                <a:gd name="T11" fmla="*/ 648 h 841"/>
                <a:gd name="T12" fmla="*/ 450 w 450"/>
                <a:gd name="T13" fmla="*/ 806 h 841"/>
                <a:gd name="T14" fmla="*/ 450 w 450"/>
                <a:gd name="T15" fmla="*/ 806 h 841"/>
                <a:gd name="T16" fmla="*/ 429 w 450"/>
                <a:gd name="T17" fmla="*/ 816 h 841"/>
                <a:gd name="T18" fmla="*/ 408 w 450"/>
                <a:gd name="T19" fmla="*/ 823 h 841"/>
                <a:gd name="T20" fmla="*/ 388 w 450"/>
                <a:gd name="T21" fmla="*/ 828 h 841"/>
                <a:gd name="T22" fmla="*/ 368 w 450"/>
                <a:gd name="T23" fmla="*/ 834 h 841"/>
                <a:gd name="T24" fmla="*/ 368 w 450"/>
                <a:gd name="T25" fmla="*/ 834 h 841"/>
                <a:gd name="T26" fmla="*/ 347 w 450"/>
                <a:gd name="T27" fmla="*/ 837 h 841"/>
                <a:gd name="T28" fmla="*/ 326 w 450"/>
                <a:gd name="T29" fmla="*/ 840 h 841"/>
                <a:gd name="T30" fmla="*/ 303 w 450"/>
                <a:gd name="T31" fmla="*/ 841 h 841"/>
                <a:gd name="T32" fmla="*/ 277 w 450"/>
                <a:gd name="T33" fmla="*/ 841 h 841"/>
                <a:gd name="T34" fmla="*/ 277 w 450"/>
                <a:gd name="T35" fmla="*/ 841 h 841"/>
                <a:gd name="T36" fmla="*/ 251 w 450"/>
                <a:gd name="T37" fmla="*/ 841 h 841"/>
                <a:gd name="T38" fmla="*/ 227 w 450"/>
                <a:gd name="T39" fmla="*/ 838 h 841"/>
                <a:gd name="T40" fmla="*/ 204 w 450"/>
                <a:gd name="T41" fmla="*/ 834 h 841"/>
                <a:gd name="T42" fmla="*/ 185 w 450"/>
                <a:gd name="T43" fmla="*/ 828 h 841"/>
                <a:gd name="T44" fmla="*/ 167 w 450"/>
                <a:gd name="T45" fmla="*/ 820 h 841"/>
                <a:gd name="T46" fmla="*/ 150 w 450"/>
                <a:gd name="T47" fmla="*/ 812 h 841"/>
                <a:gd name="T48" fmla="*/ 136 w 450"/>
                <a:gd name="T49" fmla="*/ 800 h 841"/>
                <a:gd name="T50" fmla="*/ 122 w 450"/>
                <a:gd name="T51" fmla="*/ 788 h 841"/>
                <a:gd name="T52" fmla="*/ 122 w 450"/>
                <a:gd name="T53" fmla="*/ 788 h 841"/>
                <a:gd name="T54" fmla="*/ 111 w 450"/>
                <a:gd name="T55" fmla="*/ 774 h 841"/>
                <a:gd name="T56" fmla="*/ 102 w 450"/>
                <a:gd name="T57" fmla="*/ 757 h 841"/>
                <a:gd name="T58" fmla="*/ 94 w 450"/>
                <a:gd name="T59" fmla="*/ 739 h 841"/>
                <a:gd name="T60" fmla="*/ 87 w 450"/>
                <a:gd name="T61" fmla="*/ 719 h 841"/>
                <a:gd name="T62" fmla="*/ 81 w 450"/>
                <a:gd name="T63" fmla="*/ 698 h 841"/>
                <a:gd name="T64" fmla="*/ 78 w 450"/>
                <a:gd name="T65" fmla="*/ 674 h 841"/>
                <a:gd name="T66" fmla="*/ 75 w 450"/>
                <a:gd name="T67" fmla="*/ 649 h 841"/>
                <a:gd name="T68" fmla="*/ 75 w 450"/>
                <a:gd name="T69" fmla="*/ 622 h 841"/>
                <a:gd name="T70" fmla="*/ 75 w 450"/>
                <a:gd name="T71" fmla="*/ 362 h 841"/>
                <a:gd name="T72" fmla="*/ 0 w 450"/>
                <a:gd name="T73" fmla="*/ 362 h 841"/>
                <a:gd name="T74" fmla="*/ 0 w 450"/>
                <a:gd name="T75" fmla="*/ 198 h 841"/>
                <a:gd name="T76" fmla="*/ 75 w 450"/>
                <a:gd name="T77" fmla="*/ 198 h 841"/>
                <a:gd name="T78" fmla="*/ 75 w 450"/>
                <a:gd name="T79" fmla="*/ 35 h 841"/>
                <a:gd name="T80" fmla="*/ 290 w 450"/>
                <a:gd name="T81" fmla="*/ 0 h 841"/>
                <a:gd name="T82" fmla="*/ 290 w 450"/>
                <a:gd name="T83" fmla="*/ 198 h 841"/>
                <a:gd name="T84" fmla="*/ 426 w 450"/>
                <a:gd name="T85" fmla="*/ 198 h 841"/>
                <a:gd name="T86" fmla="*/ 426 w 450"/>
                <a:gd name="T87" fmla="*/ 362 h 841"/>
                <a:gd name="T88" fmla="*/ 290 w 450"/>
                <a:gd name="T89" fmla="*/ 362 h 841"/>
                <a:gd name="T90" fmla="*/ 290 w 450"/>
                <a:gd name="T91" fmla="*/ 608 h 841"/>
                <a:gd name="T92" fmla="*/ 290 w 450"/>
                <a:gd name="T93" fmla="*/ 608 h 841"/>
                <a:gd name="T94" fmla="*/ 290 w 450"/>
                <a:gd name="T95" fmla="*/ 622 h 841"/>
                <a:gd name="T96" fmla="*/ 293 w 450"/>
                <a:gd name="T97" fmla="*/ 635 h 841"/>
                <a:gd name="T98" fmla="*/ 298 w 450"/>
                <a:gd name="T99" fmla="*/ 645 h 841"/>
                <a:gd name="T100" fmla="*/ 304 w 450"/>
                <a:gd name="T101" fmla="*/ 653 h 841"/>
                <a:gd name="T102" fmla="*/ 312 w 450"/>
                <a:gd name="T103" fmla="*/ 660 h 841"/>
                <a:gd name="T104" fmla="*/ 322 w 450"/>
                <a:gd name="T105" fmla="*/ 666 h 841"/>
                <a:gd name="T106" fmla="*/ 333 w 450"/>
                <a:gd name="T107" fmla="*/ 669 h 841"/>
                <a:gd name="T108" fmla="*/ 347 w 450"/>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841">
                  <a:moveTo>
                    <a:pt x="347" y="669"/>
                  </a:moveTo>
                  <a:lnTo>
                    <a:pt x="347" y="669"/>
                  </a:lnTo>
                  <a:lnTo>
                    <a:pt x="370" y="667"/>
                  </a:lnTo>
                  <a:lnTo>
                    <a:pt x="395" y="664"/>
                  </a:lnTo>
                  <a:lnTo>
                    <a:pt x="422" y="657"/>
                  </a:lnTo>
                  <a:lnTo>
                    <a:pt x="450" y="648"/>
                  </a:lnTo>
                  <a:lnTo>
                    <a:pt x="450" y="806"/>
                  </a:lnTo>
                  <a:lnTo>
                    <a:pt x="450" y="806"/>
                  </a:lnTo>
                  <a:lnTo>
                    <a:pt x="429" y="816"/>
                  </a:lnTo>
                  <a:lnTo>
                    <a:pt x="408" y="823"/>
                  </a:lnTo>
                  <a:lnTo>
                    <a:pt x="388" y="828"/>
                  </a:lnTo>
                  <a:lnTo>
                    <a:pt x="368" y="834"/>
                  </a:lnTo>
                  <a:lnTo>
                    <a:pt x="368" y="834"/>
                  </a:lnTo>
                  <a:lnTo>
                    <a:pt x="347" y="837"/>
                  </a:lnTo>
                  <a:lnTo>
                    <a:pt x="326" y="840"/>
                  </a:lnTo>
                  <a:lnTo>
                    <a:pt x="303" y="841"/>
                  </a:lnTo>
                  <a:lnTo>
                    <a:pt x="277" y="841"/>
                  </a:lnTo>
                  <a:lnTo>
                    <a:pt x="277" y="841"/>
                  </a:lnTo>
                  <a:lnTo>
                    <a:pt x="251" y="841"/>
                  </a:lnTo>
                  <a:lnTo>
                    <a:pt x="227" y="838"/>
                  </a:lnTo>
                  <a:lnTo>
                    <a:pt x="204" y="834"/>
                  </a:lnTo>
                  <a:lnTo>
                    <a:pt x="185" y="828"/>
                  </a:lnTo>
                  <a:lnTo>
                    <a:pt x="167" y="820"/>
                  </a:lnTo>
                  <a:lnTo>
                    <a:pt x="150" y="812"/>
                  </a:lnTo>
                  <a:lnTo>
                    <a:pt x="136" y="800"/>
                  </a:lnTo>
                  <a:lnTo>
                    <a:pt x="122" y="788"/>
                  </a:lnTo>
                  <a:lnTo>
                    <a:pt x="122" y="788"/>
                  </a:lnTo>
                  <a:lnTo>
                    <a:pt x="111" y="774"/>
                  </a:lnTo>
                  <a:lnTo>
                    <a:pt x="102" y="757"/>
                  </a:lnTo>
                  <a:lnTo>
                    <a:pt x="94" y="739"/>
                  </a:lnTo>
                  <a:lnTo>
                    <a:pt x="87" y="719"/>
                  </a:lnTo>
                  <a:lnTo>
                    <a:pt x="81" y="698"/>
                  </a:lnTo>
                  <a:lnTo>
                    <a:pt x="78" y="674"/>
                  </a:lnTo>
                  <a:lnTo>
                    <a:pt x="75" y="649"/>
                  </a:lnTo>
                  <a:lnTo>
                    <a:pt x="75" y="622"/>
                  </a:lnTo>
                  <a:lnTo>
                    <a:pt x="75" y="362"/>
                  </a:lnTo>
                  <a:lnTo>
                    <a:pt x="0" y="362"/>
                  </a:lnTo>
                  <a:lnTo>
                    <a:pt x="0" y="198"/>
                  </a:lnTo>
                  <a:lnTo>
                    <a:pt x="75" y="198"/>
                  </a:lnTo>
                  <a:lnTo>
                    <a:pt x="75" y="35"/>
                  </a:lnTo>
                  <a:lnTo>
                    <a:pt x="290" y="0"/>
                  </a:lnTo>
                  <a:lnTo>
                    <a:pt x="290" y="198"/>
                  </a:lnTo>
                  <a:lnTo>
                    <a:pt x="426" y="198"/>
                  </a:lnTo>
                  <a:lnTo>
                    <a:pt x="426" y="362"/>
                  </a:lnTo>
                  <a:lnTo>
                    <a:pt x="290" y="362"/>
                  </a:lnTo>
                  <a:lnTo>
                    <a:pt x="290" y="608"/>
                  </a:lnTo>
                  <a:lnTo>
                    <a:pt x="290" y="608"/>
                  </a:lnTo>
                  <a:lnTo>
                    <a:pt x="290" y="622"/>
                  </a:lnTo>
                  <a:lnTo>
                    <a:pt x="293" y="635"/>
                  </a:lnTo>
                  <a:lnTo>
                    <a:pt x="298" y="645"/>
                  </a:lnTo>
                  <a:lnTo>
                    <a:pt x="304" y="653"/>
                  </a:lnTo>
                  <a:lnTo>
                    <a:pt x="312" y="660"/>
                  </a:lnTo>
                  <a:lnTo>
                    <a:pt x="322" y="666"/>
                  </a:lnTo>
                  <a:lnTo>
                    <a:pt x="333" y="669"/>
                  </a:lnTo>
                  <a:lnTo>
                    <a:pt x="347" y="6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a:extLst>
                <a:ext uri="{FF2B5EF4-FFF2-40B4-BE49-F238E27FC236}">
                  <a16:creationId xmlns:a16="http://schemas.microsoft.com/office/drawing/2014/main" id="{7F999F10-C7C3-4DE8-A9C3-30B40C0CA7FF}"/>
                </a:ext>
              </a:extLst>
            </p:cNvPr>
            <p:cNvSpPr>
              <a:spLocks noEditPoints="1"/>
            </p:cNvSpPr>
            <p:nvPr/>
          </p:nvSpPr>
          <p:spPr bwMode="auto">
            <a:xfrm>
              <a:off x="4550" y="1731"/>
              <a:ext cx="297" cy="327"/>
            </a:xfrm>
            <a:custGeom>
              <a:avLst/>
              <a:gdLst>
                <a:gd name="T0" fmla="*/ 499 w 596"/>
                <a:gd name="T1" fmla="*/ 58 h 655"/>
                <a:gd name="T2" fmla="*/ 428 w 596"/>
                <a:gd name="T3" fmla="*/ 20 h 655"/>
                <a:gd name="T4" fmla="*/ 338 w 596"/>
                <a:gd name="T5" fmla="*/ 2 h 655"/>
                <a:gd name="T6" fmla="*/ 268 w 596"/>
                <a:gd name="T7" fmla="*/ 2 h 655"/>
                <a:gd name="T8" fmla="*/ 174 w 596"/>
                <a:gd name="T9" fmla="*/ 23 h 655"/>
                <a:gd name="T10" fmla="*/ 122 w 596"/>
                <a:gd name="T11" fmla="*/ 50 h 655"/>
                <a:gd name="T12" fmla="*/ 88 w 596"/>
                <a:gd name="T13" fmla="*/ 76 h 655"/>
                <a:gd name="T14" fmla="*/ 69 w 596"/>
                <a:gd name="T15" fmla="*/ 97 h 655"/>
                <a:gd name="T16" fmla="*/ 31 w 596"/>
                <a:gd name="T17" fmla="*/ 162 h 655"/>
                <a:gd name="T18" fmla="*/ 4 w 596"/>
                <a:gd name="T19" fmla="*/ 257 h 655"/>
                <a:gd name="T20" fmla="*/ 0 w 596"/>
                <a:gd name="T21" fmla="*/ 333 h 655"/>
                <a:gd name="T22" fmla="*/ 11 w 596"/>
                <a:gd name="T23" fmla="*/ 439 h 655"/>
                <a:gd name="T24" fmla="*/ 39 w 596"/>
                <a:gd name="T25" fmla="*/ 512 h 655"/>
                <a:gd name="T26" fmla="*/ 65 w 596"/>
                <a:gd name="T27" fmla="*/ 550 h 655"/>
                <a:gd name="T28" fmla="*/ 84 w 596"/>
                <a:gd name="T29" fmla="*/ 572 h 655"/>
                <a:gd name="T30" fmla="*/ 119 w 596"/>
                <a:gd name="T31" fmla="*/ 600 h 655"/>
                <a:gd name="T32" fmla="*/ 188 w 596"/>
                <a:gd name="T33" fmla="*/ 634 h 655"/>
                <a:gd name="T34" fmla="*/ 287 w 596"/>
                <a:gd name="T35" fmla="*/ 654 h 655"/>
                <a:gd name="T36" fmla="*/ 360 w 596"/>
                <a:gd name="T37" fmla="*/ 655 h 655"/>
                <a:gd name="T38" fmla="*/ 451 w 596"/>
                <a:gd name="T39" fmla="*/ 645 h 655"/>
                <a:gd name="T40" fmla="*/ 503 w 596"/>
                <a:gd name="T41" fmla="*/ 631 h 655"/>
                <a:gd name="T42" fmla="*/ 522 w 596"/>
                <a:gd name="T43" fmla="*/ 467 h 655"/>
                <a:gd name="T44" fmla="*/ 453 w 596"/>
                <a:gd name="T45" fmla="*/ 490 h 655"/>
                <a:gd name="T46" fmla="*/ 404 w 596"/>
                <a:gd name="T47" fmla="*/ 498 h 655"/>
                <a:gd name="T48" fmla="*/ 351 w 596"/>
                <a:gd name="T49" fmla="*/ 501 h 655"/>
                <a:gd name="T50" fmla="*/ 307 w 596"/>
                <a:gd name="T51" fmla="*/ 497 h 655"/>
                <a:gd name="T52" fmla="*/ 272 w 596"/>
                <a:gd name="T53" fmla="*/ 484 h 655"/>
                <a:gd name="T54" fmla="*/ 252 w 596"/>
                <a:gd name="T55" fmla="*/ 470 h 655"/>
                <a:gd name="T56" fmla="*/ 230 w 596"/>
                <a:gd name="T57" fmla="*/ 445 h 655"/>
                <a:gd name="T58" fmla="*/ 217 w 596"/>
                <a:gd name="T59" fmla="*/ 413 h 655"/>
                <a:gd name="T60" fmla="*/ 596 w 596"/>
                <a:gd name="T61" fmla="*/ 387 h 655"/>
                <a:gd name="T62" fmla="*/ 594 w 596"/>
                <a:gd name="T63" fmla="*/ 256 h 655"/>
                <a:gd name="T64" fmla="*/ 576 w 596"/>
                <a:gd name="T65" fmla="*/ 166 h 655"/>
                <a:gd name="T66" fmla="*/ 537 w 596"/>
                <a:gd name="T67" fmla="*/ 96 h 655"/>
                <a:gd name="T68" fmla="*/ 219 w 596"/>
                <a:gd name="T69" fmla="*/ 250 h 655"/>
                <a:gd name="T70" fmla="*/ 229 w 596"/>
                <a:gd name="T71" fmla="*/ 205 h 655"/>
                <a:gd name="T72" fmla="*/ 243 w 596"/>
                <a:gd name="T73" fmla="*/ 180 h 655"/>
                <a:gd name="T74" fmla="*/ 262 w 596"/>
                <a:gd name="T75" fmla="*/ 163 h 655"/>
                <a:gd name="T76" fmla="*/ 293 w 596"/>
                <a:gd name="T77" fmla="*/ 150 h 655"/>
                <a:gd name="T78" fmla="*/ 321 w 596"/>
                <a:gd name="T79" fmla="*/ 150 h 655"/>
                <a:gd name="T80" fmla="*/ 349 w 596"/>
                <a:gd name="T81" fmla="*/ 156 h 655"/>
                <a:gd name="T82" fmla="*/ 370 w 596"/>
                <a:gd name="T83" fmla="*/ 170 h 655"/>
                <a:gd name="T84" fmla="*/ 383 w 596"/>
                <a:gd name="T85" fmla="*/ 184 h 655"/>
                <a:gd name="T86" fmla="*/ 395 w 596"/>
                <a:gd name="T87" fmla="*/ 209 h 655"/>
                <a:gd name="T88" fmla="*/ 402 w 596"/>
                <a:gd name="T89" fmla="*/ 25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6" h="655">
                  <a:moveTo>
                    <a:pt x="520" y="76"/>
                  </a:moveTo>
                  <a:lnTo>
                    <a:pt x="520" y="76"/>
                  </a:lnTo>
                  <a:lnTo>
                    <a:pt x="499" y="58"/>
                  </a:lnTo>
                  <a:lnTo>
                    <a:pt x="478" y="43"/>
                  </a:lnTo>
                  <a:lnTo>
                    <a:pt x="454" y="30"/>
                  </a:lnTo>
                  <a:lnTo>
                    <a:pt x="428" y="20"/>
                  </a:lnTo>
                  <a:lnTo>
                    <a:pt x="400" y="12"/>
                  </a:lnTo>
                  <a:lnTo>
                    <a:pt x="370" y="6"/>
                  </a:lnTo>
                  <a:lnTo>
                    <a:pt x="338" y="2"/>
                  </a:lnTo>
                  <a:lnTo>
                    <a:pt x="304" y="0"/>
                  </a:lnTo>
                  <a:lnTo>
                    <a:pt x="304" y="0"/>
                  </a:lnTo>
                  <a:lnTo>
                    <a:pt x="268" y="2"/>
                  </a:lnTo>
                  <a:lnTo>
                    <a:pt x="236" y="6"/>
                  </a:lnTo>
                  <a:lnTo>
                    <a:pt x="203" y="13"/>
                  </a:lnTo>
                  <a:lnTo>
                    <a:pt x="174" y="23"/>
                  </a:lnTo>
                  <a:lnTo>
                    <a:pt x="147" y="34"/>
                  </a:lnTo>
                  <a:lnTo>
                    <a:pt x="135" y="41"/>
                  </a:lnTo>
                  <a:lnTo>
                    <a:pt x="122" y="50"/>
                  </a:lnTo>
                  <a:lnTo>
                    <a:pt x="111" y="58"/>
                  </a:lnTo>
                  <a:lnTo>
                    <a:pt x="100" y="66"/>
                  </a:lnTo>
                  <a:lnTo>
                    <a:pt x="88" y="76"/>
                  </a:lnTo>
                  <a:lnTo>
                    <a:pt x="79" y="87"/>
                  </a:lnTo>
                  <a:lnTo>
                    <a:pt x="79" y="87"/>
                  </a:lnTo>
                  <a:lnTo>
                    <a:pt x="69" y="97"/>
                  </a:lnTo>
                  <a:lnTo>
                    <a:pt x="60" y="110"/>
                  </a:lnTo>
                  <a:lnTo>
                    <a:pt x="44" y="134"/>
                  </a:lnTo>
                  <a:lnTo>
                    <a:pt x="31" y="162"/>
                  </a:lnTo>
                  <a:lnTo>
                    <a:pt x="20" y="191"/>
                  </a:lnTo>
                  <a:lnTo>
                    <a:pt x="10" y="223"/>
                  </a:lnTo>
                  <a:lnTo>
                    <a:pt x="4" y="257"/>
                  </a:lnTo>
                  <a:lnTo>
                    <a:pt x="0" y="293"/>
                  </a:lnTo>
                  <a:lnTo>
                    <a:pt x="0" y="333"/>
                  </a:lnTo>
                  <a:lnTo>
                    <a:pt x="0" y="333"/>
                  </a:lnTo>
                  <a:lnTo>
                    <a:pt x="2" y="371"/>
                  </a:lnTo>
                  <a:lnTo>
                    <a:pt x="4" y="406"/>
                  </a:lnTo>
                  <a:lnTo>
                    <a:pt x="11" y="439"/>
                  </a:lnTo>
                  <a:lnTo>
                    <a:pt x="21" y="470"/>
                  </a:lnTo>
                  <a:lnTo>
                    <a:pt x="32" y="498"/>
                  </a:lnTo>
                  <a:lnTo>
                    <a:pt x="39" y="512"/>
                  </a:lnTo>
                  <a:lnTo>
                    <a:pt x="48" y="525"/>
                  </a:lnTo>
                  <a:lnTo>
                    <a:pt x="56" y="537"/>
                  </a:lnTo>
                  <a:lnTo>
                    <a:pt x="65" y="550"/>
                  </a:lnTo>
                  <a:lnTo>
                    <a:pt x="74" y="561"/>
                  </a:lnTo>
                  <a:lnTo>
                    <a:pt x="84" y="572"/>
                  </a:lnTo>
                  <a:lnTo>
                    <a:pt x="84" y="572"/>
                  </a:lnTo>
                  <a:lnTo>
                    <a:pt x="95" y="582"/>
                  </a:lnTo>
                  <a:lnTo>
                    <a:pt x="107" y="592"/>
                  </a:lnTo>
                  <a:lnTo>
                    <a:pt x="119" y="600"/>
                  </a:lnTo>
                  <a:lnTo>
                    <a:pt x="132" y="609"/>
                  </a:lnTo>
                  <a:lnTo>
                    <a:pt x="159" y="623"/>
                  </a:lnTo>
                  <a:lnTo>
                    <a:pt x="188" y="634"/>
                  </a:lnTo>
                  <a:lnTo>
                    <a:pt x="219" y="644"/>
                  </a:lnTo>
                  <a:lnTo>
                    <a:pt x="251" y="651"/>
                  </a:lnTo>
                  <a:lnTo>
                    <a:pt x="287" y="654"/>
                  </a:lnTo>
                  <a:lnTo>
                    <a:pt x="324" y="655"/>
                  </a:lnTo>
                  <a:lnTo>
                    <a:pt x="324" y="655"/>
                  </a:lnTo>
                  <a:lnTo>
                    <a:pt x="360" y="655"/>
                  </a:lnTo>
                  <a:lnTo>
                    <a:pt x="393" y="654"/>
                  </a:lnTo>
                  <a:lnTo>
                    <a:pt x="423" y="649"/>
                  </a:lnTo>
                  <a:lnTo>
                    <a:pt x="451" y="645"/>
                  </a:lnTo>
                  <a:lnTo>
                    <a:pt x="451" y="645"/>
                  </a:lnTo>
                  <a:lnTo>
                    <a:pt x="478" y="640"/>
                  </a:lnTo>
                  <a:lnTo>
                    <a:pt x="503" y="631"/>
                  </a:lnTo>
                  <a:lnTo>
                    <a:pt x="530" y="621"/>
                  </a:lnTo>
                  <a:lnTo>
                    <a:pt x="555" y="610"/>
                  </a:lnTo>
                  <a:lnTo>
                    <a:pt x="522" y="467"/>
                  </a:lnTo>
                  <a:lnTo>
                    <a:pt x="522"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2" y="470"/>
                  </a:lnTo>
                  <a:lnTo>
                    <a:pt x="252" y="470"/>
                  </a:lnTo>
                  <a:lnTo>
                    <a:pt x="244" y="463"/>
                  </a:lnTo>
                  <a:lnTo>
                    <a:pt x="237" y="455"/>
                  </a:lnTo>
                  <a:lnTo>
                    <a:pt x="230" y="445"/>
                  </a:lnTo>
                  <a:lnTo>
                    <a:pt x="226" y="435"/>
                  </a:lnTo>
                  <a:lnTo>
                    <a:pt x="222" y="424"/>
                  </a:lnTo>
                  <a:lnTo>
                    <a:pt x="217" y="413"/>
                  </a:lnTo>
                  <a:lnTo>
                    <a:pt x="216" y="400"/>
                  </a:lnTo>
                  <a:lnTo>
                    <a:pt x="215" y="387"/>
                  </a:lnTo>
                  <a:lnTo>
                    <a:pt x="596" y="387"/>
                  </a:lnTo>
                  <a:lnTo>
                    <a:pt x="596" y="291"/>
                  </a:lnTo>
                  <a:lnTo>
                    <a:pt x="596" y="291"/>
                  </a:lnTo>
                  <a:lnTo>
                    <a:pt x="594" y="256"/>
                  </a:lnTo>
                  <a:lnTo>
                    <a:pt x="590" y="225"/>
                  </a:lnTo>
                  <a:lnTo>
                    <a:pt x="585" y="194"/>
                  </a:lnTo>
                  <a:lnTo>
                    <a:pt x="576" y="166"/>
                  </a:lnTo>
                  <a:lnTo>
                    <a:pt x="566" y="141"/>
                  </a:lnTo>
                  <a:lnTo>
                    <a:pt x="552" y="117"/>
                  </a:lnTo>
                  <a:lnTo>
                    <a:pt x="537" y="96"/>
                  </a:lnTo>
                  <a:lnTo>
                    <a:pt x="520" y="76"/>
                  </a:lnTo>
                  <a:close/>
                  <a:moveTo>
                    <a:pt x="219" y="250"/>
                  </a:moveTo>
                  <a:lnTo>
                    <a:pt x="219" y="250"/>
                  </a:lnTo>
                  <a:lnTo>
                    <a:pt x="223" y="226"/>
                  </a:lnTo>
                  <a:lnTo>
                    <a:pt x="226" y="215"/>
                  </a:lnTo>
                  <a:lnTo>
                    <a:pt x="229" y="205"/>
                  </a:lnTo>
                  <a:lnTo>
                    <a:pt x="233" y="195"/>
                  </a:lnTo>
                  <a:lnTo>
                    <a:pt x="237" y="188"/>
                  </a:lnTo>
                  <a:lnTo>
                    <a:pt x="243" y="180"/>
                  </a:lnTo>
                  <a:lnTo>
                    <a:pt x="248" y="174"/>
                  </a:lnTo>
                  <a:lnTo>
                    <a:pt x="248" y="174"/>
                  </a:lnTo>
                  <a:lnTo>
                    <a:pt x="262" y="163"/>
                  </a:lnTo>
                  <a:lnTo>
                    <a:pt x="269" y="159"/>
                  </a:lnTo>
                  <a:lnTo>
                    <a:pt x="278" y="156"/>
                  </a:lnTo>
                  <a:lnTo>
                    <a:pt x="293" y="150"/>
                  </a:lnTo>
                  <a:lnTo>
                    <a:pt x="311" y="149"/>
                  </a:lnTo>
                  <a:lnTo>
                    <a:pt x="311" y="149"/>
                  </a:lnTo>
                  <a:lnTo>
                    <a:pt x="321" y="150"/>
                  </a:lnTo>
                  <a:lnTo>
                    <a:pt x="331" y="152"/>
                  </a:lnTo>
                  <a:lnTo>
                    <a:pt x="341" y="153"/>
                  </a:lnTo>
                  <a:lnTo>
                    <a:pt x="349" y="156"/>
                  </a:lnTo>
                  <a:lnTo>
                    <a:pt x="356" y="160"/>
                  </a:lnTo>
                  <a:lnTo>
                    <a:pt x="363" y="164"/>
                  </a:lnTo>
                  <a:lnTo>
                    <a:pt x="370" y="170"/>
                  </a:lnTo>
                  <a:lnTo>
                    <a:pt x="377" y="177"/>
                  </a:lnTo>
                  <a:lnTo>
                    <a:pt x="377" y="177"/>
                  </a:lnTo>
                  <a:lnTo>
                    <a:pt x="383" y="184"/>
                  </a:lnTo>
                  <a:lnTo>
                    <a:pt x="387" y="191"/>
                  </a:lnTo>
                  <a:lnTo>
                    <a:pt x="391" y="199"/>
                  </a:lnTo>
                  <a:lnTo>
                    <a:pt x="395" y="209"/>
                  </a:lnTo>
                  <a:lnTo>
                    <a:pt x="398" y="218"/>
                  </a:lnTo>
                  <a:lnTo>
                    <a:pt x="400" y="229"/>
                  </a:lnTo>
                  <a:lnTo>
                    <a:pt x="402" y="250"/>
                  </a:lnTo>
                  <a:lnTo>
                    <a:pt x="219" y="2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a:extLst>
                <a:ext uri="{FF2B5EF4-FFF2-40B4-BE49-F238E27FC236}">
                  <a16:creationId xmlns:a16="http://schemas.microsoft.com/office/drawing/2014/main" id="{A510B4EE-A3BE-4A95-BBDB-A3999A398C4A}"/>
                </a:ext>
              </a:extLst>
            </p:cNvPr>
            <p:cNvSpPr>
              <a:spLocks/>
            </p:cNvSpPr>
            <p:nvPr/>
          </p:nvSpPr>
          <p:spPr bwMode="auto">
            <a:xfrm>
              <a:off x="4550" y="1731"/>
              <a:ext cx="297" cy="327"/>
            </a:xfrm>
            <a:custGeom>
              <a:avLst/>
              <a:gdLst>
                <a:gd name="T0" fmla="*/ 520 w 596"/>
                <a:gd name="T1" fmla="*/ 76 h 655"/>
                <a:gd name="T2" fmla="*/ 478 w 596"/>
                <a:gd name="T3" fmla="*/ 43 h 655"/>
                <a:gd name="T4" fmla="*/ 428 w 596"/>
                <a:gd name="T5" fmla="*/ 20 h 655"/>
                <a:gd name="T6" fmla="*/ 370 w 596"/>
                <a:gd name="T7" fmla="*/ 6 h 655"/>
                <a:gd name="T8" fmla="*/ 304 w 596"/>
                <a:gd name="T9" fmla="*/ 0 h 655"/>
                <a:gd name="T10" fmla="*/ 268 w 596"/>
                <a:gd name="T11" fmla="*/ 2 h 655"/>
                <a:gd name="T12" fmla="*/ 203 w 596"/>
                <a:gd name="T13" fmla="*/ 13 h 655"/>
                <a:gd name="T14" fmla="*/ 147 w 596"/>
                <a:gd name="T15" fmla="*/ 34 h 655"/>
                <a:gd name="T16" fmla="*/ 122 w 596"/>
                <a:gd name="T17" fmla="*/ 50 h 655"/>
                <a:gd name="T18" fmla="*/ 100 w 596"/>
                <a:gd name="T19" fmla="*/ 66 h 655"/>
                <a:gd name="T20" fmla="*/ 79 w 596"/>
                <a:gd name="T21" fmla="*/ 87 h 655"/>
                <a:gd name="T22" fmla="*/ 69 w 596"/>
                <a:gd name="T23" fmla="*/ 97 h 655"/>
                <a:gd name="T24" fmla="*/ 44 w 596"/>
                <a:gd name="T25" fmla="*/ 134 h 655"/>
                <a:gd name="T26" fmla="*/ 20 w 596"/>
                <a:gd name="T27" fmla="*/ 191 h 655"/>
                <a:gd name="T28" fmla="*/ 4 w 596"/>
                <a:gd name="T29" fmla="*/ 257 h 655"/>
                <a:gd name="T30" fmla="*/ 0 w 596"/>
                <a:gd name="T31" fmla="*/ 333 h 655"/>
                <a:gd name="T32" fmla="*/ 2 w 596"/>
                <a:gd name="T33" fmla="*/ 371 h 655"/>
                <a:gd name="T34" fmla="*/ 11 w 596"/>
                <a:gd name="T35" fmla="*/ 439 h 655"/>
                <a:gd name="T36" fmla="*/ 32 w 596"/>
                <a:gd name="T37" fmla="*/ 498 h 655"/>
                <a:gd name="T38" fmla="*/ 48 w 596"/>
                <a:gd name="T39" fmla="*/ 525 h 655"/>
                <a:gd name="T40" fmla="*/ 65 w 596"/>
                <a:gd name="T41" fmla="*/ 550 h 655"/>
                <a:gd name="T42" fmla="*/ 84 w 596"/>
                <a:gd name="T43" fmla="*/ 572 h 655"/>
                <a:gd name="T44" fmla="*/ 95 w 596"/>
                <a:gd name="T45" fmla="*/ 582 h 655"/>
                <a:gd name="T46" fmla="*/ 119 w 596"/>
                <a:gd name="T47" fmla="*/ 600 h 655"/>
                <a:gd name="T48" fmla="*/ 159 w 596"/>
                <a:gd name="T49" fmla="*/ 623 h 655"/>
                <a:gd name="T50" fmla="*/ 219 w 596"/>
                <a:gd name="T51" fmla="*/ 644 h 655"/>
                <a:gd name="T52" fmla="*/ 287 w 596"/>
                <a:gd name="T53" fmla="*/ 654 h 655"/>
                <a:gd name="T54" fmla="*/ 324 w 596"/>
                <a:gd name="T55" fmla="*/ 655 h 655"/>
                <a:gd name="T56" fmla="*/ 393 w 596"/>
                <a:gd name="T57" fmla="*/ 654 h 655"/>
                <a:gd name="T58" fmla="*/ 451 w 596"/>
                <a:gd name="T59" fmla="*/ 645 h 655"/>
                <a:gd name="T60" fmla="*/ 478 w 596"/>
                <a:gd name="T61" fmla="*/ 640 h 655"/>
                <a:gd name="T62" fmla="*/ 530 w 596"/>
                <a:gd name="T63" fmla="*/ 621 h 655"/>
                <a:gd name="T64" fmla="*/ 522 w 596"/>
                <a:gd name="T65" fmla="*/ 467 h 655"/>
                <a:gd name="T66" fmla="*/ 487 w 596"/>
                <a:gd name="T67" fmla="*/ 480 h 655"/>
                <a:gd name="T68" fmla="*/ 453 w 596"/>
                <a:gd name="T69" fmla="*/ 490 h 655"/>
                <a:gd name="T70" fmla="*/ 404 w 596"/>
                <a:gd name="T71" fmla="*/ 498 h 655"/>
                <a:gd name="T72" fmla="*/ 351 w 596"/>
                <a:gd name="T73" fmla="*/ 501 h 655"/>
                <a:gd name="T74" fmla="*/ 335 w 596"/>
                <a:gd name="T75" fmla="*/ 499 h 655"/>
                <a:gd name="T76" fmla="*/ 307 w 596"/>
                <a:gd name="T77" fmla="*/ 497 h 655"/>
                <a:gd name="T78" fmla="*/ 283 w 596"/>
                <a:gd name="T79" fmla="*/ 488 h 655"/>
                <a:gd name="T80" fmla="*/ 262 w 596"/>
                <a:gd name="T81" fmla="*/ 477 h 655"/>
                <a:gd name="T82" fmla="*/ 252 w 596"/>
                <a:gd name="T83" fmla="*/ 470 h 655"/>
                <a:gd name="T84" fmla="*/ 237 w 596"/>
                <a:gd name="T85" fmla="*/ 455 h 655"/>
                <a:gd name="T86" fmla="*/ 226 w 596"/>
                <a:gd name="T87" fmla="*/ 435 h 655"/>
                <a:gd name="T88" fmla="*/ 217 w 596"/>
                <a:gd name="T89" fmla="*/ 413 h 655"/>
                <a:gd name="T90" fmla="*/ 215 w 596"/>
                <a:gd name="T91" fmla="*/ 387 h 655"/>
                <a:gd name="T92" fmla="*/ 596 w 596"/>
                <a:gd name="T93" fmla="*/ 291 h 655"/>
                <a:gd name="T94" fmla="*/ 594 w 596"/>
                <a:gd name="T95" fmla="*/ 256 h 655"/>
                <a:gd name="T96" fmla="*/ 585 w 596"/>
                <a:gd name="T97" fmla="*/ 194 h 655"/>
                <a:gd name="T98" fmla="*/ 566 w 596"/>
                <a:gd name="T99" fmla="*/ 141 h 655"/>
                <a:gd name="T100" fmla="*/ 537 w 596"/>
                <a:gd name="T101" fmla="*/ 9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655">
                  <a:moveTo>
                    <a:pt x="520" y="76"/>
                  </a:moveTo>
                  <a:lnTo>
                    <a:pt x="520" y="76"/>
                  </a:lnTo>
                  <a:lnTo>
                    <a:pt x="499" y="58"/>
                  </a:lnTo>
                  <a:lnTo>
                    <a:pt x="478" y="43"/>
                  </a:lnTo>
                  <a:lnTo>
                    <a:pt x="454" y="30"/>
                  </a:lnTo>
                  <a:lnTo>
                    <a:pt x="428" y="20"/>
                  </a:lnTo>
                  <a:lnTo>
                    <a:pt x="400" y="12"/>
                  </a:lnTo>
                  <a:lnTo>
                    <a:pt x="370" y="6"/>
                  </a:lnTo>
                  <a:lnTo>
                    <a:pt x="338" y="2"/>
                  </a:lnTo>
                  <a:lnTo>
                    <a:pt x="304" y="0"/>
                  </a:lnTo>
                  <a:lnTo>
                    <a:pt x="304" y="0"/>
                  </a:lnTo>
                  <a:lnTo>
                    <a:pt x="268" y="2"/>
                  </a:lnTo>
                  <a:lnTo>
                    <a:pt x="236" y="6"/>
                  </a:lnTo>
                  <a:lnTo>
                    <a:pt x="203" y="13"/>
                  </a:lnTo>
                  <a:lnTo>
                    <a:pt x="174" y="23"/>
                  </a:lnTo>
                  <a:lnTo>
                    <a:pt x="147" y="34"/>
                  </a:lnTo>
                  <a:lnTo>
                    <a:pt x="135" y="41"/>
                  </a:lnTo>
                  <a:lnTo>
                    <a:pt x="122" y="50"/>
                  </a:lnTo>
                  <a:lnTo>
                    <a:pt x="111" y="58"/>
                  </a:lnTo>
                  <a:lnTo>
                    <a:pt x="100" y="66"/>
                  </a:lnTo>
                  <a:lnTo>
                    <a:pt x="88" y="76"/>
                  </a:lnTo>
                  <a:lnTo>
                    <a:pt x="79" y="87"/>
                  </a:lnTo>
                  <a:lnTo>
                    <a:pt x="79" y="87"/>
                  </a:lnTo>
                  <a:lnTo>
                    <a:pt x="69" y="97"/>
                  </a:lnTo>
                  <a:lnTo>
                    <a:pt x="60" y="110"/>
                  </a:lnTo>
                  <a:lnTo>
                    <a:pt x="44" y="134"/>
                  </a:lnTo>
                  <a:lnTo>
                    <a:pt x="31" y="162"/>
                  </a:lnTo>
                  <a:lnTo>
                    <a:pt x="20" y="191"/>
                  </a:lnTo>
                  <a:lnTo>
                    <a:pt x="10" y="223"/>
                  </a:lnTo>
                  <a:lnTo>
                    <a:pt x="4" y="257"/>
                  </a:lnTo>
                  <a:lnTo>
                    <a:pt x="0" y="293"/>
                  </a:lnTo>
                  <a:lnTo>
                    <a:pt x="0" y="333"/>
                  </a:lnTo>
                  <a:lnTo>
                    <a:pt x="0" y="333"/>
                  </a:lnTo>
                  <a:lnTo>
                    <a:pt x="2" y="371"/>
                  </a:lnTo>
                  <a:lnTo>
                    <a:pt x="4" y="406"/>
                  </a:lnTo>
                  <a:lnTo>
                    <a:pt x="11" y="439"/>
                  </a:lnTo>
                  <a:lnTo>
                    <a:pt x="21" y="470"/>
                  </a:lnTo>
                  <a:lnTo>
                    <a:pt x="32" y="498"/>
                  </a:lnTo>
                  <a:lnTo>
                    <a:pt x="39" y="512"/>
                  </a:lnTo>
                  <a:lnTo>
                    <a:pt x="48" y="525"/>
                  </a:lnTo>
                  <a:lnTo>
                    <a:pt x="56" y="537"/>
                  </a:lnTo>
                  <a:lnTo>
                    <a:pt x="65" y="550"/>
                  </a:lnTo>
                  <a:lnTo>
                    <a:pt x="74" y="561"/>
                  </a:lnTo>
                  <a:lnTo>
                    <a:pt x="84" y="572"/>
                  </a:lnTo>
                  <a:lnTo>
                    <a:pt x="84" y="572"/>
                  </a:lnTo>
                  <a:lnTo>
                    <a:pt x="95" y="582"/>
                  </a:lnTo>
                  <a:lnTo>
                    <a:pt x="107" y="592"/>
                  </a:lnTo>
                  <a:lnTo>
                    <a:pt x="119" y="600"/>
                  </a:lnTo>
                  <a:lnTo>
                    <a:pt x="132" y="609"/>
                  </a:lnTo>
                  <a:lnTo>
                    <a:pt x="159" y="623"/>
                  </a:lnTo>
                  <a:lnTo>
                    <a:pt x="188" y="634"/>
                  </a:lnTo>
                  <a:lnTo>
                    <a:pt x="219" y="644"/>
                  </a:lnTo>
                  <a:lnTo>
                    <a:pt x="251" y="651"/>
                  </a:lnTo>
                  <a:lnTo>
                    <a:pt x="287" y="654"/>
                  </a:lnTo>
                  <a:lnTo>
                    <a:pt x="324" y="655"/>
                  </a:lnTo>
                  <a:lnTo>
                    <a:pt x="324" y="655"/>
                  </a:lnTo>
                  <a:lnTo>
                    <a:pt x="360" y="655"/>
                  </a:lnTo>
                  <a:lnTo>
                    <a:pt x="393" y="654"/>
                  </a:lnTo>
                  <a:lnTo>
                    <a:pt x="423" y="649"/>
                  </a:lnTo>
                  <a:lnTo>
                    <a:pt x="451" y="645"/>
                  </a:lnTo>
                  <a:lnTo>
                    <a:pt x="451" y="645"/>
                  </a:lnTo>
                  <a:lnTo>
                    <a:pt x="478" y="640"/>
                  </a:lnTo>
                  <a:lnTo>
                    <a:pt x="503" y="631"/>
                  </a:lnTo>
                  <a:lnTo>
                    <a:pt x="530" y="621"/>
                  </a:lnTo>
                  <a:lnTo>
                    <a:pt x="555" y="610"/>
                  </a:lnTo>
                  <a:lnTo>
                    <a:pt x="522" y="467"/>
                  </a:lnTo>
                  <a:lnTo>
                    <a:pt x="522"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2" y="470"/>
                  </a:lnTo>
                  <a:lnTo>
                    <a:pt x="252" y="470"/>
                  </a:lnTo>
                  <a:lnTo>
                    <a:pt x="244" y="463"/>
                  </a:lnTo>
                  <a:lnTo>
                    <a:pt x="237" y="455"/>
                  </a:lnTo>
                  <a:lnTo>
                    <a:pt x="230" y="445"/>
                  </a:lnTo>
                  <a:lnTo>
                    <a:pt x="226" y="435"/>
                  </a:lnTo>
                  <a:lnTo>
                    <a:pt x="222" y="424"/>
                  </a:lnTo>
                  <a:lnTo>
                    <a:pt x="217" y="413"/>
                  </a:lnTo>
                  <a:lnTo>
                    <a:pt x="216" y="400"/>
                  </a:lnTo>
                  <a:lnTo>
                    <a:pt x="215" y="387"/>
                  </a:lnTo>
                  <a:lnTo>
                    <a:pt x="596" y="387"/>
                  </a:lnTo>
                  <a:lnTo>
                    <a:pt x="596" y="291"/>
                  </a:lnTo>
                  <a:lnTo>
                    <a:pt x="596" y="291"/>
                  </a:lnTo>
                  <a:lnTo>
                    <a:pt x="594" y="256"/>
                  </a:lnTo>
                  <a:lnTo>
                    <a:pt x="590" y="225"/>
                  </a:lnTo>
                  <a:lnTo>
                    <a:pt x="585" y="194"/>
                  </a:lnTo>
                  <a:lnTo>
                    <a:pt x="576" y="166"/>
                  </a:lnTo>
                  <a:lnTo>
                    <a:pt x="566" y="141"/>
                  </a:lnTo>
                  <a:lnTo>
                    <a:pt x="552" y="117"/>
                  </a:lnTo>
                  <a:lnTo>
                    <a:pt x="537" y="96"/>
                  </a:lnTo>
                  <a:lnTo>
                    <a:pt x="520" y="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a:extLst>
                <a:ext uri="{FF2B5EF4-FFF2-40B4-BE49-F238E27FC236}">
                  <a16:creationId xmlns:a16="http://schemas.microsoft.com/office/drawing/2014/main" id="{76FE28FB-2E5C-4A19-9D00-D7B3BCFC84B2}"/>
                </a:ext>
              </a:extLst>
            </p:cNvPr>
            <p:cNvSpPr>
              <a:spLocks/>
            </p:cNvSpPr>
            <p:nvPr/>
          </p:nvSpPr>
          <p:spPr bwMode="auto">
            <a:xfrm>
              <a:off x="4659" y="1805"/>
              <a:ext cx="92" cy="50"/>
            </a:xfrm>
            <a:custGeom>
              <a:avLst/>
              <a:gdLst>
                <a:gd name="T0" fmla="*/ 0 w 183"/>
                <a:gd name="T1" fmla="*/ 101 h 101"/>
                <a:gd name="T2" fmla="*/ 0 w 183"/>
                <a:gd name="T3" fmla="*/ 101 h 101"/>
                <a:gd name="T4" fmla="*/ 4 w 183"/>
                <a:gd name="T5" fmla="*/ 77 h 101"/>
                <a:gd name="T6" fmla="*/ 7 w 183"/>
                <a:gd name="T7" fmla="*/ 66 h 101"/>
                <a:gd name="T8" fmla="*/ 10 w 183"/>
                <a:gd name="T9" fmla="*/ 56 h 101"/>
                <a:gd name="T10" fmla="*/ 14 w 183"/>
                <a:gd name="T11" fmla="*/ 46 h 101"/>
                <a:gd name="T12" fmla="*/ 18 w 183"/>
                <a:gd name="T13" fmla="*/ 39 h 101"/>
                <a:gd name="T14" fmla="*/ 24 w 183"/>
                <a:gd name="T15" fmla="*/ 31 h 101"/>
                <a:gd name="T16" fmla="*/ 29 w 183"/>
                <a:gd name="T17" fmla="*/ 25 h 101"/>
                <a:gd name="T18" fmla="*/ 29 w 183"/>
                <a:gd name="T19" fmla="*/ 25 h 101"/>
                <a:gd name="T20" fmla="*/ 43 w 183"/>
                <a:gd name="T21" fmla="*/ 14 h 101"/>
                <a:gd name="T22" fmla="*/ 50 w 183"/>
                <a:gd name="T23" fmla="*/ 10 h 101"/>
                <a:gd name="T24" fmla="*/ 59 w 183"/>
                <a:gd name="T25" fmla="*/ 7 h 101"/>
                <a:gd name="T26" fmla="*/ 74 w 183"/>
                <a:gd name="T27" fmla="*/ 1 h 101"/>
                <a:gd name="T28" fmla="*/ 92 w 183"/>
                <a:gd name="T29" fmla="*/ 0 h 101"/>
                <a:gd name="T30" fmla="*/ 92 w 183"/>
                <a:gd name="T31" fmla="*/ 0 h 101"/>
                <a:gd name="T32" fmla="*/ 102 w 183"/>
                <a:gd name="T33" fmla="*/ 1 h 101"/>
                <a:gd name="T34" fmla="*/ 112 w 183"/>
                <a:gd name="T35" fmla="*/ 3 h 101"/>
                <a:gd name="T36" fmla="*/ 122 w 183"/>
                <a:gd name="T37" fmla="*/ 4 h 101"/>
                <a:gd name="T38" fmla="*/ 130 w 183"/>
                <a:gd name="T39" fmla="*/ 7 h 101"/>
                <a:gd name="T40" fmla="*/ 137 w 183"/>
                <a:gd name="T41" fmla="*/ 11 h 101"/>
                <a:gd name="T42" fmla="*/ 144 w 183"/>
                <a:gd name="T43" fmla="*/ 15 h 101"/>
                <a:gd name="T44" fmla="*/ 151 w 183"/>
                <a:gd name="T45" fmla="*/ 21 h 101"/>
                <a:gd name="T46" fmla="*/ 158 w 183"/>
                <a:gd name="T47" fmla="*/ 28 h 101"/>
                <a:gd name="T48" fmla="*/ 158 w 183"/>
                <a:gd name="T49" fmla="*/ 28 h 101"/>
                <a:gd name="T50" fmla="*/ 164 w 183"/>
                <a:gd name="T51" fmla="*/ 35 h 101"/>
                <a:gd name="T52" fmla="*/ 168 w 183"/>
                <a:gd name="T53" fmla="*/ 42 h 101"/>
                <a:gd name="T54" fmla="*/ 172 w 183"/>
                <a:gd name="T55" fmla="*/ 50 h 101"/>
                <a:gd name="T56" fmla="*/ 176 w 183"/>
                <a:gd name="T57" fmla="*/ 60 h 101"/>
                <a:gd name="T58" fmla="*/ 179 w 183"/>
                <a:gd name="T59" fmla="*/ 69 h 101"/>
                <a:gd name="T60" fmla="*/ 181 w 183"/>
                <a:gd name="T61" fmla="*/ 80 h 101"/>
                <a:gd name="T62" fmla="*/ 183 w 183"/>
                <a:gd name="T63" fmla="*/ 101 h 101"/>
                <a:gd name="T64" fmla="*/ 0 w 183"/>
                <a:gd name="T6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3" h="101">
                  <a:moveTo>
                    <a:pt x="0" y="101"/>
                  </a:moveTo>
                  <a:lnTo>
                    <a:pt x="0" y="101"/>
                  </a:lnTo>
                  <a:lnTo>
                    <a:pt x="4" y="77"/>
                  </a:lnTo>
                  <a:lnTo>
                    <a:pt x="7" y="66"/>
                  </a:lnTo>
                  <a:lnTo>
                    <a:pt x="10" y="56"/>
                  </a:lnTo>
                  <a:lnTo>
                    <a:pt x="14" y="46"/>
                  </a:lnTo>
                  <a:lnTo>
                    <a:pt x="18" y="39"/>
                  </a:lnTo>
                  <a:lnTo>
                    <a:pt x="24" y="31"/>
                  </a:lnTo>
                  <a:lnTo>
                    <a:pt x="29" y="25"/>
                  </a:lnTo>
                  <a:lnTo>
                    <a:pt x="29" y="25"/>
                  </a:lnTo>
                  <a:lnTo>
                    <a:pt x="43" y="14"/>
                  </a:lnTo>
                  <a:lnTo>
                    <a:pt x="50" y="10"/>
                  </a:lnTo>
                  <a:lnTo>
                    <a:pt x="59" y="7"/>
                  </a:lnTo>
                  <a:lnTo>
                    <a:pt x="74" y="1"/>
                  </a:lnTo>
                  <a:lnTo>
                    <a:pt x="92" y="0"/>
                  </a:lnTo>
                  <a:lnTo>
                    <a:pt x="92" y="0"/>
                  </a:lnTo>
                  <a:lnTo>
                    <a:pt x="102" y="1"/>
                  </a:lnTo>
                  <a:lnTo>
                    <a:pt x="112" y="3"/>
                  </a:lnTo>
                  <a:lnTo>
                    <a:pt x="122" y="4"/>
                  </a:lnTo>
                  <a:lnTo>
                    <a:pt x="130" y="7"/>
                  </a:lnTo>
                  <a:lnTo>
                    <a:pt x="137" y="11"/>
                  </a:lnTo>
                  <a:lnTo>
                    <a:pt x="144" y="15"/>
                  </a:lnTo>
                  <a:lnTo>
                    <a:pt x="151" y="21"/>
                  </a:lnTo>
                  <a:lnTo>
                    <a:pt x="158" y="28"/>
                  </a:lnTo>
                  <a:lnTo>
                    <a:pt x="158" y="28"/>
                  </a:lnTo>
                  <a:lnTo>
                    <a:pt x="164" y="35"/>
                  </a:lnTo>
                  <a:lnTo>
                    <a:pt x="168" y="42"/>
                  </a:lnTo>
                  <a:lnTo>
                    <a:pt x="172" y="50"/>
                  </a:lnTo>
                  <a:lnTo>
                    <a:pt x="176" y="60"/>
                  </a:lnTo>
                  <a:lnTo>
                    <a:pt x="179" y="69"/>
                  </a:lnTo>
                  <a:lnTo>
                    <a:pt x="181" y="80"/>
                  </a:lnTo>
                  <a:lnTo>
                    <a:pt x="183" y="101"/>
                  </a:lnTo>
                  <a:lnTo>
                    <a:pt x="0" y="1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a:extLst>
                <a:ext uri="{FF2B5EF4-FFF2-40B4-BE49-F238E27FC236}">
                  <a16:creationId xmlns:a16="http://schemas.microsoft.com/office/drawing/2014/main" id="{4477A694-F603-4FEA-B922-3DC619B4DDFC}"/>
                </a:ext>
              </a:extLst>
            </p:cNvPr>
            <p:cNvSpPr>
              <a:spLocks noEditPoints="1"/>
            </p:cNvSpPr>
            <p:nvPr/>
          </p:nvSpPr>
          <p:spPr bwMode="auto">
            <a:xfrm>
              <a:off x="3067" y="1731"/>
              <a:ext cx="297" cy="327"/>
            </a:xfrm>
            <a:custGeom>
              <a:avLst/>
              <a:gdLst>
                <a:gd name="T0" fmla="*/ 501 w 596"/>
                <a:gd name="T1" fmla="*/ 58 h 655"/>
                <a:gd name="T2" fmla="*/ 428 w 596"/>
                <a:gd name="T3" fmla="*/ 20 h 655"/>
                <a:gd name="T4" fmla="*/ 338 w 596"/>
                <a:gd name="T5" fmla="*/ 2 h 655"/>
                <a:gd name="T6" fmla="*/ 269 w 596"/>
                <a:gd name="T7" fmla="*/ 2 h 655"/>
                <a:gd name="T8" fmla="*/ 175 w 596"/>
                <a:gd name="T9" fmla="*/ 23 h 655"/>
                <a:gd name="T10" fmla="*/ 122 w 596"/>
                <a:gd name="T11" fmla="*/ 50 h 655"/>
                <a:gd name="T12" fmla="*/ 89 w 596"/>
                <a:gd name="T13" fmla="*/ 76 h 655"/>
                <a:gd name="T14" fmla="*/ 69 w 596"/>
                <a:gd name="T15" fmla="*/ 97 h 655"/>
                <a:gd name="T16" fmla="*/ 31 w 596"/>
                <a:gd name="T17" fmla="*/ 162 h 655"/>
                <a:gd name="T18" fmla="*/ 4 w 596"/>
                <a:gd name="T19" fmla="*/ 257 h 655"/>
                <a:gd name="T20" fmla="*/ 0 w 596"/>
                <a:gd name="T21" fmla="*/ 333 h 655"/>
                <a:gd name="T22" fmla="*/ 12 w 596"/>
                <a:gd name="T23" fmla="*/ 439 h 655"/>
                <a:gd name="T24" fmla="*/ 41 w 596"/>
                <a:gd name="T25" fmla="*/ 512 h 655"/>
                <a:gd name="T26" fmla="*/ 65 w 596"/>
                <a:gd name="T27" fmla="*/ 550 h 655"/>
                <a:gd name="T28" fmla="*/ 86 w 596"/>
                <a:gd name="T29" fmla="*/ 572 h 655"/>
                <a:gd name="T30" fmla="*/ 119 w 596"/>
                <a:gd name="T31" fmla="*/ 600 h 655"/>
                <a:gd name="T32" fmla="*/ 188 w 596"/>
                <a:gd name="T33" fmla="*/ 634 h 655"/>
                <a:gd name="T34" fmla="*/ 288 w 596"/>
                <a:gd name="T35" fmla="*/ 654 h 655"/>
                <a:gd name="T36" fmla="*/ 361 w 596"/>
                <a:gd name="T37" fmla="*/ 655 h 655"/>
                <a:gd name="T38" fmla="*/ 452 w 596"/>
                <a:gd name="T39" fmla="*/ 645 h 655"/>
                <a:gd name="T40" fmla="*/ 505 w 596"/>
                <a:gd name="T41" fmla="*/ 631 h 655"/>
                <a:gd name="T42" fmla="*/ 523 w 596"/>
                <a:gd name="T43" fmla="*/ 467 h 655"/>
                <a:gd name="T44" fmla="*/ 453 w 596"/>
                <a:gd name="T45" fmla="*/ 490 h 655"/>
                <a:gd name="T46" fmla="*/ 404 w 596"/>
                <a:gd name="T47" fmla="*/ 498 h 655"/>
                <a:gd name="T48" fmla="*/ 351 w 596"/>
                <a:gd name="T49" fmla="*/ 501 h 655"/>
                <a:gd name="T50" fmla="*/ 307 w 596"/>
                <a:gd name="T51" fmla="*/ 497 h 655"/>
                <a:gd name="T52" fmla="*/ 272 w 596"/>
                <a:gd name="T53" fmla="*/ 484 h 655"/>
                <a:gd name="T54" fmla="*/ 253 w 596"/>
                <a:gd name="T55" fmla="*/ 470 h 655"/>
                <a:gd name="T56" fmla="*/ 232 w 596"/>
                <a:gd name="T57" fmla="*/ 445 h 655"/>
                <a:gd name="T58" fmla="*/ 219 w 596"/>
                <a:gd name="T59" fmla="*/ 413 h 655"/>
                <a:gd name="T60" fmla="*/ 596 w 596"/>
                <a:gd name="T61" fmla="*/ 387 h 655"/>
                <a:gd name="T62" fmla="*/ 595 w 596"/>
                <a:gd name="T63" fmla="*/ 256 h 655"/>
                <a:gd name="T64" fmla="*/ 578 w 596"/>
                <a:gd name="T65" fmla="*/ 166 h 655"/>
                <a:gd name="T66" fmla="*/ 539 w 596"/>
                <a:gd name="T67" fmla="*/ 96 h 655"/>
                <a:gd name="T68" fmla="*/ 219 w 596"/>
                <a:gd name="T69" fmla="*/ 250 h 655"/>
                <a:gd name="T70" fmla="*/ 229 w 596"/>
                <a:gd name="T71" fmla="*/ 205 h 655"/>
                <a:gd name="T72" fmla="*/ 243 w 596"/>
                <a:gd name="T73" fmla="*/ 180 h 655"/>
                <a:gd name="T74" fmla="*/ 262 w 596"/>
                <a:gd name="T75" fmla="*/ 163 h 655"/>
                <a:gd name="T76" fmla="*/ 295 w 596"/>
                <a:gd name="T77" fmla="*/ 150 h 655"/>
                <a:gd name="T78" fmla="*/ 323 w 596"/>
                <a:gd name="T79" fmla="*/ 150 h 655"/>
                <a:gd name="T80" fmla="*/ 349 w 596"/>
                <a:gd name="T81" fmla="*/ 156 h 655"/>
                <a:gd name="T82" fmla="*/ 372 w 596"/>
                <a:gd name="T83" fmla="*/ 170 h 655"/>
                <a:gd name="T84" fmla="*/ 383 w 596"/>
                <a:gd name="T85" fmla="*/ 184 h 655"/>
                <a:gd name="T86" fmla="*/ 396 w 596"/>
                <a:gd name="T87" fmla="*/ 209 h 655"/>
                <a:gd name="T88" fmla="*/ 403 w 596"/>
                <a:gd name="T89" fmla="*/ 25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6" h="655">
                  <a:moveTo>
                    <a:pt x="520" y="76"/>
                  </a:moveTo>
                  <a:lnTo>
                    <a:pt x="520" y="76"/>
                  </a:lnTo>
                  <a:lnTo>
                    <a:pt x="501" y="58"/>
                  </a:lnTo>
                  <a:lnTo>
                    <a:pt x="478" y="43"/>
                  </a:lnTo>
                  <a:lnTo>
                    <a:pt x="454" y="30"/>
                  </a:lnTo>
                  <a:lnTo>
                    <a:pt x="428" y="20"/>
                  </a:lnTo>
                  <a:lnTo>
                    <a:pt x="400" y="12"/>
                  </a:lnTo>
                  <a:lnTo>
                    <a:pt x="370" y="6"/>
                  </a:lnTo>
                  <a:lnTo>
                    <a:pt x="338" y="2"/>
                  </a:lnTo>
                  <a:lnTo>
                    <a:pt x="304" y="0"/>
                  </a:lnTo>
                  <a:lnTo>
                    <a:pt x="304" y="0"/>
                  </a:lnTo>
                  <a:lnTo>
                    <a:pt x="269" y="2"/>
                  </a:lnTo>
                  <a:lnTo>
                    <a:pt x="236" y="6"/>
                  </a:lnTo>
                  <a:lnTo>
                    <a:pt x="204" y="13"/>
                  </a:lnTo>
                  <a:lnTo>
                    <a:pt x="175" y="23"/>
                  </a:lnTo>
                  <a:lnTo>
                    <a:pt x="147" y="34"/>
                  </a:lnTo>
                  <a:lnTo>
                    <a:pt x="135" y="41"/>
                  </a:lnTo>
                  <a:lnTo>
                    <a:pt x="122" y="50"/>
                  </a:lnTo>
                  <a:lnTo>
                    <a:pt x="111" y="58"/>
                  </a:lnTo>
                  <a:lnTo>
                    <a:pt x="100" y="66"/>
                  </a:lnTo>
                  <a:lnTo>
                    <a:pt x="89" y="76"/>
                  </a:lnTo>
                  <a:lnTo>
                    <a:pt x="79" y="87"/>
                  </a:lnTo>
                  <a:lnTo>
                    <a:pt x="79" y="87"/>
                  </a:lnTo>
                  <a:lnTo>
                    <a:pt x="69" y="97"/>
                  </a:lnTo>
                  <a:lnTo>
                    <a:pt x="61" y="110"/>
                  </a:lnTo>
                  <a:lnTo>
                    <a:pt x="45" y="134"/>
                  </a:lnTo>
                  <a:lnTo>
                    <a:pt x="31" y="162"/>
                  </a:lnTo>
                  <a:lnTo>
                    <a:pt x="20" y="191"/>
                  </a:lnTo>
                  <a:lnTo>
                    <a:pt x="12" y="223"/>
                  </a:lnTo>
                  <a:lnTo>
                    <a:pt x="4" y="257"/>
                  </a:lnTo>
                  <a:lnTo>
                    <a:pt x="2" y="293"/>
                  </a:lnTo>
                  <a:lnTo>
                    <a:pt x="0" y="333"/>
                  </a:lnTo>
                  <a:lnTo>
                    <a:pt x="0" y="333"/>
                  </a:lnTo>
                  <a:lnTo>
                    <a:pt x="2" y="371"/>
                  </a:lnTo>
                  <a:lnTo>
                    <a:pt x="6" y="406"/>
                  </a:lnTo>
                  <a:lnTo>
                    <a:pt x="12" y="439"/>
                  </a:lnTo>
                  <a:lnTo>
                    <a:pt x="21" y="470"/>
                  </a:lnTo>
                  <a:lnTo>
                    <a:pt x="34" y="498"/>
                  </a:lnTo>
                  <a:lnTo>
                    <a:pt x="41" y="512"/>
                  </a:lnTo>
                  <a:lnTo>
                    <a:pt x="48" y="525"/>
                  </a:lnTo>
                  <a:lnTo>
                    <a:pt x="56" y="537"/>
                  </a:lnTo>
                  <a:lnTo>
                    <a:pt x="65" y="550"/>
                  </a:lnTo>
                  <a:lnTo>
                    <a:pt x="75" y="561"/>
                  </a:lnTo>
                  <a:lnTo>
                    <a:pt x="86" y="572"/>
                  </a:lnTo>
                  <a:lnTo>
                    <a:pt x="86" y="572"/>
                  </a:lnTo>
                  <a:lnTo>
                    <a:pt x="96" y="582"/>
                  </a:lnTo>
                  <a:lnTo>
                    <a:pt x="108" y="592"/>
                  </a:lnTo>
                  <a:lnTo>
                    <a:pt x="119" y="600"/>
                  </a:lnTo>
                  <a:lnTo>
                    <a:pt x="132" y="609"/>
                  </a:lnTo>
                  <a:lnTo>
                    <a:pt x="159" y="623"/>
                  </a:lnTo>
                  <a:lnTo>
                    <a:pt x="188" y="634"/>
                  </a:lnTo>
                  <a:lnTo>
                    <a:pt x="219" y="644"/>
                  </a:lnTo>
                  <a:lnTo>
                    <a:pt x="253" y="651"/>
                  </a:lnTo>
                  <a:lnTo>
                    <a:pt x="288" y="654"/>
                  </a:lnTo>
                  <a:lnTo>
                    <a:pt x="325" y="655"/>
                  </a:lnTo>
                  <a:lnTo>
                    <a:pt x="325" y="655"/>
                  </a:lnTo>
                  <a:lnTo>
                    <a:pt x="361" y="655"/>
                  </a:lnTo>
                  <a:lnTo>
                    <a:pt x="394" y="654"/>
                  </a:lnTo>
                  <a:lnTo>
                    <a:pt x="425" y="649"/>
                  </a:lnTo>
                  <a:lnTo>
                    <a:pt x="452" y="645"/>
                  </a:lnTo>
                  <a:lnTo>
                    <a:pt x="452" y="645"/>
                  </a:lnTo>
                  <a:lnTo>
                    <a:pt x="478" y="640"/>
                  </a:lnTo>
                  <a:lnTo>
                    <a:pt x="505" y="631"/>
                  </a:lnTo>
                  <a:lnTo>
                    <a:pt x="530" y="621"/>
                  </a:lnTo>
                  <a:lnTo>
                    <a:pt x="555" y="610"/>
                  </a:lnTo>
                  <a:lnTo>
                    <a:pt x="523" y="467"/>
                  </a:lnTo>
                  <a:lnTo>
                    <a:pt x="523"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3" y="470"/>
                  </a:lnTo>
                  <a:lnTo>
                    <a:pt x="253" y="470"/>
                  </a:lnTo>
                  <a:lnTo>
                    <a:pt x="244" y="463"/>
                  </a:lnTo>
                  <a:lnTo>
                    <a:pt x="237" y="455"/>
                  </a:lnTo>
                  <a:lnTo>
                    <a:pt x="232" y="445"/>
                  </a:lnTo>
                  <a:lnTo>
                    <a:pt x="226" y="435"/>
                  </a:lnTo>
                  <a:lnTo>
                    <a:pt x="222" y="424"/>
                  </a:lnTo>
                  <a:lnTo>
                    <a:pt x="219" y="413"/>
                  </a:lnTo>
                  <a:lnTo>
                    <a:pt x="216" y="400"/>
                  </a:lnTo>
                  <a:lnTo>
                    <a:pt x="215" y="387"/>
                  </a:lnTo>
                  <a:lnTo>
                    <a:pt x="596" y="387"/>
                  </a:lnTo>
                  <a:lnTo>
                    <a:pt x="596" y="291"/>
                  </a:lnTo>
                  <a:lnTo>
                    <a:pt x="596" y="291"/>
                  </a:lnTo>
                  <a:lnTo>
                    <a:pt x="595" y="256"/>
                  </a:lnTo>
                  <a:lnTo>
                    <a:pt x="592" y="225"/>
                  </a:lnTo>
                  <a:lnTo>
                    <a:pt x="585" y="194"/>
                  </a:lnTo>
                  <a:lnTo>
                    <a:pt x="578" y="166"/>
                  </a:lnTo>
                  <a:lnTo>
                    <a:pt x="567" y="141"/>
                  </a:lnTo>
                  <a:lnTo>
                    <a:pt x="554" y="117"/>
                  </a:lnTo>
                  <a:lnTo>
                    <a:pt x="539" y="96"/>
                  </a:lnTo>
                  <a:lnTo>
                    <a:pt x="520" y="76"/>
                  </a:lnTo>
                  <a:close/>
                  <a:moveTo>
                    <a:pt x="219" y="250"/>
                  </a:moveTo>
                  <a:lnTo>
                    <a:pt x="219" y="250"/>
                  </a:lnTo>
                  <a:lnTo>
                    <a:pt x="223" y="226"/>
                  </a:lnTo>
                  <a:lnTo>
                    <a:pt x="226" y="215"/>
                  </a:lnTo>
                  <a:lnTo>
                    <a:pt x="229" y="205"/>
                  </a:lnTo>
                  <a:lnTo>
                    <a:pt x="233" y="195"/>
                  </a:lnTo>
                  <a:lnTo>
                    <a:pt x="239" y="188"/>
                  </a:lnTo>
                  <a:lnTo>
                    <a:pt x="243" y="180"/>
                  </a:lnTo>
                  <a:lnTo>
                    <a:pt x="250" y="174"/>
                  </a:lnTo>
                  <a:lnTo>
                    <a:pt x="250" y="174"/>
                  </a:lnTo>
                  <a:lnTo>
                    <a:pt x="262" y="163"/>
                  </a:lnTo>
                  <a:lnTo>
                    <a:pt x="269" y="159"/>
                  </a:lnTo>
                  <a:lnTo>
                    <a:pt x="278" y="156"/>
                  </a:lnTo>
                  <a:lnTo>
                    <a:pt x="295" y="150"/>
                  </a:lnTo>
                  <a:lnTo>
                    <a:pt x="313" y="149"/>
                  </a:lnTo>
                  <a:lnTo>
                    <a:pt x="313" y="149"/>
                  </a:lnTo>
                  <a:lnTo>
                    <a:pt x="323" y="150"/>
                  </a:lnTo>
                  <a:lnTo>
                    <a:pt x="331" y="152"/>
                  </a:lnTo>
                  <a:lnTo>
                    <a:pt x="341" y="153"/>
                  </a:lnTo>
                  <a:lnTo>
                    <a:pt x="349" y="156"/>
                  </a:lnTo>
                  <a:lnTo>
                    <a:pt x="356" y="160"/>
                  </a:lnTo>
                  <a:lnTo>
                    <a:pt x="365" y="164"/>
                  </a:lnTo>
                  <a:lnTo>
                    <a:pt x="372" y="170"/>
                  </a:lnTo>
                  <a:lnTo>
                    <a:pt x="377" y="177"/>
                  </a:lnTo>
                  <a:lnTo>
                    <a:pt x="377" y="177"/>
                  </a:lnTo>
                  <a:lnTo>
                    <a:pt x="383" y="184"/>
                  </a:lnTo>
                  <a:lnTo>
                    <a:pt x="389" y="191"/>
                  </a:lnTo>
                  <a:lnTo>
                    <a:pt x="393" y="199"/>
                  </a:lnTo>
                  <a:lnTo>
                    <a:pt x="396" y="209"/>
                  </a:lnTo>
                  <a:lnTo>
                    <a:pt x="398" y="218"/>
                  </a:lnTo>
                  <a:lnTo>
                    <a:pt x="401" y="229"/>
                  </a:lnTo>
                  <a:lnTo>
                    <a:pt x="403" y="250"/>
                  </a:lnTo>
                  <a:lnTo>
                    <a:pt x="219" y="2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a:extLst>
                <a:ext uri="{FF2B5EF4-FFF2-40B4-BE49-F238E27FC236}">
                  <a16:creationId xmlns:a16="http://schemas.microsoft.com/office/drawing/2014/main" id="{B2858626-A27B-453E-AD4A-FE424D199353}"/>
                </a:ext>
              </a:extLst>
            </p:cNvPr>
            <p:cNvSpPr>
              <a:spLocks/>
            </p:cNvSpPr>
            <p:nvPr/>
          </p:nvSpPr>
          <p:spPr bwMode="auto">
            <a:xfrm>
              <a:off x="3067" y="1731"/>
              <a:ext cx="297" cy="327"/>
            </a:xfrm>
            <a:custGeom>
              <a:avLst/>
              <a:gdLst>
                <a:gd name="T0" fmla="*/ 520 w 596"/>
                <a:gd name="T1" fmla="*/ 76 h 655"/>
                <a:gd name="T2" fmla="*/ 478 w 596"/>
                <a:gd name="T3" fmla="*/ 43 h 655"/>
                <a:gd name="T4" fmla="*/ 428 w 596"/>
                <a:gd name="T5" fmla="*/ 20 h 655"/>
                <a:gd name="T6" fmla="*/ 370 w 596"/>
                <a:gd name="T7" fmla="*/ 6 h 655"/>
                <a:gd name="T8" fmla="*/ 304 w 596"/>
                <a:gd name="T9" fmla="*/ 0 h 655"/>
                <a:gd name="T10" fmla="*/ 269 w 596"/>
                <a:gd name="T11" fmla="*/ 2 h 655"/>
                <a:gd name="T12" fmla="*/ 204 w 596"/>
                <a:gd name="T13" fmla="*/ 13 h 655"/>
                <a:gd name="T14" fmla="*/ 147 w 596"/>
                <a:gd name="T15" fmla="*/ 34 h 655"/>
                <a:gd name="T16" fmla="*/ 122 w 596"/>
                <a:gd name="T17" fmla="*/ 50 h 655"/>
                <a:gd name="T18" fmla="*/ 100 w 596"/>
                <a:gd name="T19" fmla="*/ 66 h 655"/>
                <a:gd name="T20" fmla="*/ 79 w 596"/>
                <a:gd name="T21" fmla="*/ 87 h 655"/>
                <a:gd name="T22" fmla="*/ 69 w 596"/>
                <a:gd name="T23" fmla="*/ 97 h 655"/>
                <a:gd name="T24" fmla="*/ 45 w 596"/>
                <a:gd name="T25" fmla="*/ 134 h 655"/>
                <a:gd name="T26" fmla="*/ 20 w 596"/>
                <a:gd name="T27" fmla="*/ 191 h 655"/>
                <a:gd name="T28" fmla="*/ 4 w 596"/>
                <a:gd name="T29" fmla="*/ 257 h 655"/>
                <a:gd name="T30" fmla="*/ 0 w 596"/>
                <a:gd name="T31" fmla="*/ 333 h 655"/>
                <a:gd name="T32" fmla="*/ 2 w 596"/>
                <a:gd name="T33" fmla="*/ 371 h 655"/>
                <a:gd name="T34" fmla="*/ 12 w 596"/>
                <a:gd name="T35" fmla="*/ 439 h 655"/>
                <a:gd name="T36" fmla="*/ 34 w 596"/>
                <a:gd name="T37" fmla="*/ 498 h 655"/>
                <a:gd name="T38" fmla="*/ 48 w 596"/>
                <a:gd name="T39" fmla="*/ 525 h 655"/>
                <a:gd name="T40" fmla="*/ 65 w 596"/>
                <a:gd name="T41" fmla="*/ 550 h 655"/>
                <a:gd name="T42" fmla="*/ 86 w 596"/>
                <a:gd name="T43" fmla="*/ 572 h 655"/>
                <a:gd name="T44" fmla="*/ 96 w 596"/>
                <a:gd name="T45" fmla="*/ 582 h 655"/>
                <a:gd name="T46" fmla="*/ 119 w 596"/>
                <a:gd name="T47" fmla="*/ 600 h 655"/>
                <a:gd name="T48" fmla="*/ 159 w 596"/>
                <a:gd name="T49" fmla="*/ 623 h 655"/>
                <a:gd name="T50" fmla="*/ 219 w 596"/>
                <a:gd name="T51" fmla="*/ 644 h 655"/>
                <a:gd name="T52" fmla="*/ 288 w 596"/>
                <a:gd name="T53" fmla="*/ 654 h 655"/>
                <a:gd name="T54" fmla="*/ 325 w 596"/>
                <a:gd name="T55" fmla="*/ 655 h 655"/>
                <a:gd name="T56" fmla="*/ 394 w 596"/>
                <a:gd name="T57" fmla="*/ 654 h 655"/>
                <a:gd name="T58" fmla="*/ 452 w 596"/>
                <a:gd name="T59" fmla="*/ 645 h 655"/>
                <a:gd name="T60" fmla="*/ 478 w 596"/>
                <a:gd name="T61" fmla="*/ 640 h 655"/>
                <a:gd name="T62" fmla="*/ 530 w 596"/>
                <a:gd name="T63" fmla="*/ 621 h 655"/>
                <a:gd name="T64" fmla="*/ 523 w 596"/>
                <a:gd name="T65" fmla="*/ 467 h 655"/>
                <a:gd name="T66" fmla="*/ 487 w 596"/>
                <a:gd name="T67" fmla="*/ 480 h 655"/>
                <a:gd name="T68" fmla="*/ 453 w 596"/>
                <a:gd name="T69" fmla="*/ 490 h 655"/>
                <a:gd name="T70" fmla="*/ 404 w 596"/>
                <a:gd name="T71" fmla="*/ 498 h 655"/>
                <a:gd name="T72" fmla="*/ 351 w 596"/>
                <a:gd name="T73" fmla="*/ 501 h 655"/>
                <a:gd name="T74" fmla="*/ 335 w 596"/>
                <a:gd name="T75" fmla="*/ 499 h 655"/>
                <a:gd name="T76" fmla="*/ 307 w 596"/>
                <a:gd name="T77" fmla="*/ 497 h 655"/>
                <a:gd name="T78" fmla="*/ 283 w 596"/>
                <a:gd name="T79" fmla="*/ 488 h 655"/>
                <a:gd name="T80" fmla="*/ 262 w 596"/>
                <a:gd name="T81" fmla="*/ 477 h 655"/>
                <a:gd name="T82" fmla="*/ 253 w 596"/>
                <a:gd name="T83" fmla="*/ 470 h 655"/>
                <a:gd name="T84" fmla="*/ 237 w 596"/>
                <a:gd name="T85" fmla="*/ 455 h 655"/>
                <a:gd name="T86" fmla="*/ 226 w 596"/>
                <a:gd name="T87" fmla="*/ 435 h 655"/>
                <a:gd name="T88" fmla="*/ 219 w 596"/>
                <a:gd name="T89" fmla="*/ 413 h 655"/>
                <a:gd name="T90" fmla="*/ 215 w 596"/>
                <a:gd name="T91" fmla="*/ 387 h 655"/>
                <a:gd name="T92" fmla="*/ 596 w 596"/>
                <a:gd name="T93" fmla="*/ 291 h 655"/>
                <a:gd name="T94" fmla="*/ 595 w 596"/>
                <a:gd name="T95" fmla="*/ 256 h 655"/>
                <a:gd name="T96" fmla="*/ 585 w 596"/>
                <a:gd name="T97" fmla="*/ 194 h 655"/>
                <a:gd name="T98" fmla="*/ 567 w 596"/>
                <a:gd name="T99" fmla="*/ 141 h 655"/>
                <a:gd name="T100" fmla="*/ 539 w 596"/>
                <a:gd name="T101" fmla="*/ 9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655">
                  <a:moveTo>
                    <a:pt x="520" y="76"/>
                  </a:moveTo>
                  <a:lnTo>
                    <a:pt x="520" y="76"/>
                  </a:lnTo>
                  <a:lnTo>
                    <a:pt x="501" y="58"/>
                  </a:lnTo>
                  <a:lnTo>
                    <a:pt x="478" y="43"/>
                  </a:lnTo>
                  <a:lnTo>
                    <a:pt x="454" y="30"/>
                  </a:lnTo>
                  <a:lnTo>
                    <a:pt x="428" y="20"/>
                  </a:lnTo>
                  <a:lnTo>
                    <a:pt x="400" y="12"/>
                  </a:lnTo>
                  <a:lnTo>
                    <a:pt x="370" y="6"/>
                  </a:lnTo>
                  <a:lnTo>
                    <a:pt x="338" y="2"/>
                  </a:lnTo>
                  <a:lnTo>
                    <a:pt x="304" y="0"/>
                  </a:lnTo>
                  <a:lnTo>
                    <a:pt x="304" y="0"/>
                  </a:lnTo>
                  <a:lnTo>
                    <a:pt x="269" y="2"/>
                  </a:lnTo>
                  <a:lnTo>
                    <a:pt x="236" y="6"/>
                  </a:lnTo>
                  <a:lnTo>
                    <a:pt x="204" y="13"/>
                  </a:lnTo>
                  <a:lnTo>
                    <a:pt x="175" y="23"/>
                  </a:lnTo>
                  <a:lnTo>
                    <a:pt x="147" y="34"/>
                  </a:lnTo>
                  <a:lnTo>
                    <a:pt x="135" y="41"/>
                  </a:lnTo>
                  <a:lnTo>
                    <a:pt x="122" y="50"/>
                  </a:lnTo>
                  <a:lnTo>
                    <a:pt x="111" y="58"/>
                  </a:lnTo>
                  <a:lnTo>
                    <a:pt x="100" y="66"/>
                  </a:lnTo>
                  <a:lnTo>
                    <a:pt x="89" y="76"/>
                  </a:lnTo>
                  <a:lnTo>
                    <a:pt x="79" y="87"/>
                  </a:lnTo>
                  <a:lnTo>
                    <a:pt x="79" y="87"/>
                  </a:lnTo>
                  <a:lnTo>
                    <a:pt x="69" y="97"/>
                  </a:lnTo>
                  <a:lnTo>
                    <a:pt x="61" y="110"/>
                  </a:lnTo>
                  <a:lnTo>
                    <a:pt x="45" y="134"/>
                  </a:lnTo>
                  <a:lnTo>
                    <a:pt x="31" y="162"/>
                  </a:lnTo>
                  <a:lnTo>
                    <a:pt x="20" y="191"/>
                  </a:lnTo>
                  <a:lnTo>
                    <a:pt x="12" y="223"/>
                  </a:lnTo>
                  <a:lnTo>
                    <a:pt x="4" y="257"/>
                  </a:lnTo>
                  <a:lnTo>
                    <a:pt x="2" y="293"/>
                  </a:lnTo>
                  <a:lnTo>
                    <a:pt x="0" y="333"/>
                  </a:lnTo>
                  <a:lnTo>
                    <a:pt x="0" y="333"/>
                  </a:lnTo>
                  <a:lnTo>
                    <a:pt x="2" y="371"/>
                  </a:lnTo>
                  <a:lnTo>
                    <a:pt x="6" y="406"/>
                  </a:lnTo>
                  <a:lnTo>
                    <a:pt x="12" y="439"/>
                  </a:lnTo>
                  <a:lnTo>
                    <a:pt x="21" y="470"/>
                  </a:lnTo>
                  <a:lnTo>
                    <a:pt x="34" y="498"/>
                  </a:lnTo>
                  <a:lnTo>
                    <a:pt x="41" y="512"/>
                  </a:lnTo>
                  <a:lnTo>
                    <a:pt x="48" y="525"/>
                  </a:lnTo>
                  <a:lnTo>
                    <a:pt x="56" y="537"/>
                  </a:lnTo>
                  <a:lnTo>
                    <a:pt x="65" y="550"/>
                  </a:lnTo>
                  <a:lnTo>
                    <a:pt x="75" y="561"/>
                  </a:lnTo>
                  <a:lnTo>
                    <a:pt x="86" y="572"/>
                  </a:lnTo>
                  <a:lnTo>
                    <a:pt x="86" y="572"/>
                  </a:lnTo>
                  <a:lnTo>
                    <a:pt x="96" y="582"/>
                  </a:lnTo>
                  <a:lnTo>
                    <a:pt x="108" y="592"/>
                  </a:lnTo>
                  <a:lnTo>
                    <a:pt x="119" y="600"/>
                  </a:lnTo>
                  <a:lnTo>
                    <a:pt x="132" y="609"/>
                  </a:lnTo>
                  <a:lnTo>
                    <a:pt x="159" y="623"/>
                  </a:lnTo>
                  <a:lnTo>
                    <a:pt x="188" y="634"/>
                  </a:lnTo>
                  <a:lnTo>
                    <a:pt x="219" y="644"/>
                  </a:lnTo>
                  <a:lnTo>
                    <a:pt x="253" y="651"/>
                  </a:lnTo>
                  <a:lnTo>
                    <a:pt x="288" y="654"/>
                  </a:lnTo>
                  <a:lnTo>
                    <a:pt x="325" y="655"/>
                  </a:lnTo>
                  <a:lnTo>
                    <a:pt x="325" y="655"/>
                  </a:lnTo>
                  <a:lnTo>
                    <a:pt x="361" y="655"/>
                  </a:lnTo>
                  <a:lnTo>
                    <a:pt x="394" y="654"/>
                  </a:lnTo>
                  <a:lnTo>
                    <a:pt x="425" y="649"/>
                  </a:lnTo>
                  <a:lnTo>
                    <a:pt x="452" y="645"/>
                  </a:lnTo>
                  <a:lnTo>
                    <a:pt x="452" y="645"/>
                  </a:lnTo>
                  <a:lnTo>
                    <a:pt x="478" y="640"/>
                  </a:lnTo>
                  <a:lnTo>
                    <a:pt x="505" y="631"/>
                  </a:lnTo>
                  <a:lnTo>
                    <a:pt x="530" y="621"/>
                  </a:lnTo>
                  <a:lnTo>
                    <a:pt x="555" y="610"/>
                  </a:lnTo>
                  <a:lnTo>
                    <a:pt x="523" y="467"/>
                  </a:lnTo>
                  <a:lnTo>
                    <a:pt x="523"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3" y="470"/>
                  </a:lnTo>
                  <a:lnTo>
                    <a:pt x="253" y="470"/>
                  </a:lnTo>
                  <a:lnTo>
                    <a:pt x="244" y="463"/>
                  </a:lnTo>
                  <a:lnTo>
                    <a:pt x="237" y="455"/>
                  </a:lnTo>
                  <a:lnTo>
                    <a:pt x="232" y="445"/>
                  </a:lnTo>
                  <a:lnTo>
                    <a:pt x="226" y="435"/>
                  </a:lnTo>
                  <a:lnTo>
                    <a:pt x="222" y="424"/>
                  </a:lnTo>
                  <a:lnTo>
                    <a:pt x="219" y="413"/>
                  </a:lnTo>
                  <a:lnTo>
                    <a:pt x="216" y="400"/>
                  </a:lnTo>
                  <a:lnTo>
                    <a:pt x="215" y="387"/>
                  </a:lnTo>
                  <a:lnTo>
                    <a:pt x="596" y="387"/>
                  </a:lnTo>
                  <a:lnTo>
                    <a:pt x="596" y="291"/>
                  </a:lnTo>
                  <a:lnTo>
                    <a:pt x="596" y="291"/>
                  </a:lnTo>
                  <a:lnTo>
                    <a:pt x="595" y="256"/>
                  </a:lnTo>
                  <a:lnTo>
                    <a:pt x="592" y="225"/>
                  </a:lnTo>
                  <a:lnTo>
                    <a:pt x="585" y="194"/>
                  </a:lnTo>
                  <a:lnTo>
                    <a:pt x="578" y="166"/>
                  </a:lnTo>
                  <a:lnTo>
                    <a:pt x="567" y="141"/>
                  </a:lnTo>
                  <a:lnTo>
                    <a:pt x="554" y="117"/>
                  </a:lnTo>
                  <a:lnTo>
                    <a:pt x="539" y="96"/>
                  </a:lnTo>
                  <a:lnTo>
                    <a:pt x="520" y="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a:extLst>
                <a:ext uri="{FF2B5EF4-FFF2-40B4-BE49-F238E27FC236}">
                  <a16:creationId xmlns:a16="http://schemas.microsoft.com/office/drawing/2014/main" id="{0C463DC5-FD16-42B3-8BDE-6A0FA8604EC3}"/>
                </a:ext>
              </a:extLst>
            </p:cNvPr>
            <p:cNvSpPr>
              <a:spLocks/>
            </p:cNvSpPr>
            <p:nvPr/>
          </p:nvSpPr>
          <p:spPr bwMode="auto">
            <a:xfrm>
              <a:off x="3176" y="1805"/>
              <a:ext cx="92" cy="50"/>
            </a:xfrm>
            <a:custGeom>
              <a:avLst/>
              <a:gdLst>
                <a:gd name="T0" fmla="*/ 0 w 184"/>
                <a:gd name="T1" fmla="*/ 101 h 101"/>
                <a:gd name="T2" fmla="*/ 0 w 184"/>
                <a:gd name="T3" fmla="*/ 101 h 101"/>
                <a:gd name="T4" fmla="*/ 4 w 184"/>
                <a:gd name="T5" fmla="*/ 77 h 101"/>
                <a:gd name="T6" fmla="*/ 7 w 184"/>
                <a:gd name="T7" fmla="*/ 66 h 101"/>
                <a:gd name="T8" fmla="*/ 10 w 184"/>
                <a:gd name="T9" fmla="*/ 56 h 101"/>
                <a:gd name="T10" fmla="*/ 14 w 184"/>
                <a:gd name="T11" fmla="*/ 46 h 101"/>
                <a:gd name="T12" fmla="*/ 20 w 184"/>
                <a:gd name="T13" fmla="*/ 39 h 101"/>
                <a:gd name="T14" fmla="*/ 24 w 184"/>
                <a:gd name="T15" fmla="*/ 31 h 101"/>
                <a:gd name="T16" fmla="*/ 31 w 184"/>
                <a:gd name="T17" fmla="*/ 25 h 101"/>
                <a:gd name="T18" fmla="*/ 31 w 184"/>
                <a:gd name="T19" fmla="*/ 25 h 101"/>
                <a:gd name="T20" fmla="*/ 43 w 184"/>
                <a:gd name="T21" fmla="*/ 14 h 101"/>
                <a:gd name="T22" fmla="*/ 50 w 184"/>
                <a:gd name="T23" fmla="*/ 10 h 101"/>
                <a:gd name="T24" fmla="*/ 59 w 184"/>
                <a:gd name="T25" fmla="*/ 7 h 101"/>
                <a:gd name="T26" fmla="*/ 76 w 184"/>
                <a:gd name="T27" fmla="*/ 1 h 101"/>
                <a:gd name="T28" fmla="*/ 94 w 184"/>
                <a:gd name="T29" fmla="*/ 0 h 101"/>
                <a:gd name="T30" fmla="*/ 94 w 184"/>
                <a:gd name="T31" fmla="*/ 0 h 101"/>
                <a:gd name="T32" fmla="*/ 104 w 184"/>
                <a:gd name="T33" fmla="*/ 1 h 101"/>
                <a:gd name="T34" fmla="*/ 112 w 184"/>
                <a:gd name="T35" fmla="*/ 3 h 101"/>
                <a:gd name="T36" fmla="*/ 122 w 184"/>
                <a:gd name="T37" fmla="*/ 4 h 101"/>
                <a:gd name="T38" fmla="*/ 130 w 184"/>
                <a:gd name="T39" fmla="*/ 7 h 101"/>
                <a:gd name="T40" fmla="*/ 137 w 184"/>
                <a:gd name="T41" fmla="*/ 11 h 101"/>
                <a:gd name="T42" fmla="*/ 146 w 184"/>
                <a:gd name="T43" fmla="*/ 15 h 101"/>
                <a:gd name="T44" fmla="*/ 153 w 184"/>
                <a:gd name="T45" fmla="*/ 21 h 101"/>
                <a:gd name="T46" fmla="*/ 158 w 184"/>
                <a:gd name="T47" fmla="*/ 28 h 101"/>
                <a:gd name="T48" fmla="*/ 158 w 184"/>
                <a:gd name="T49" fmla="*/ 28 h 101"/>
                <a:gd name="T50" fmla="*/ 164 w 184"/>
                <a:gd name="T51" fmla="*/ 35 h 101"/>
                <a:gd name="T52" fmla="*/ 170 w 184"/>
                <a:gd name="T53" fmla="*/ 42 h 101"/>
                <a:gd name="T54" fmla="*/ 174 w 184"/>
                <a:gd name="T55" fmla="*/ 50 h 101"/>
                <a:gd name="T56" fmla="*/ 177 w 184"/>
                <a:gd name="T57" fmla="*/ 60 h 101"/>
                <a:gd name="T58" fmla="*/ 179 w 184"/>
                <a:gd name="T59" fmla="*/ 69 h 101"/>
                <a:gd name="T60" fmla="*/ 182 w 184"/>
                <a:gd name="T61" fmla="*/ 80 h 101"/>
                <a:gd name="T62" fmla="*/ 184 w 184"/>
                <a:gd name="T63" fmla="*/ 101 h 101"/>
                <a:gd name="T64" fmla="*/ 0 w 184"/>
                <a:gd name="T6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01">
                  <a:moveTo>
                    <a:pt x="0" y="101"/>
                  </a:moveTo>
                  <a:lnTo>
                    <a:pt x="0" y="101"/>
                  </a:lnTo>
                  <a:lnTo>
                    <a:pt x="4" y="77"/>
                  </a:lnTo>
                  <a:lnTo>
                    <a:pt x="7" y="66"/>
                  </a:lnTo>
                  <a:lnTo>
                    <a:pt x="10" y="56"/>
                  </a:lnTo>
                  <a:lnTo>
                    <a:pt x="14" y="46"/>
                  </a:lnTo>
                  <a:lnTo>
                    <a:pt x="20" y="39"/>
                  </a:lnTo>
                  <a:lnTo>
                    <a:pt x="24" y="31"/>
                  </a:lnTo>
                  <a:lnTo>
                    <a:pt x="31" y="25"/>
                  </a:lnTo>
                  <a:lnTo>
                    <a:pt x="31" y="25"/>
                  </a:lnTo>
                  <a:lnTo>
                    <a:pt x="43" y="14"/>
                  </a:lnTo>
                  <a:lnTo>
                    <a:pt x="50" y="10"/>
                  </a:lnTo>
                  <a:lnTo>
                    <a:pt x="59" y="7"/>
                  </a:lnTo>
                  <a:lnTo>
                    <a:pt x="76" y="1"/>
                  </a:lnTo>
                  <a:lnTo>
                    <a:pt x="94" y="0"/>
                  </a:lnTo>
                  <a:lnTo>
                    <a:pt x="94" y="0"/>
                  </a:lnTo>
                  <a:lnTo>
                    <a:pt x="104" y="1"/>
                  </a:lnTo>
                  <a:lnTo>
                    <a:pt x="112" y="3"/>
                  </a:lnTo>
                  <a:lnTo>
                    <a:pt x="122" y="4"/>
                  </a:lnTo>
                  <a:lnTo>
                    <a:pt x="130" y="7"/>
                  </a:lnTo>
                  <a:lnTo>
                    <a:pt x="137" y="11"/>
                  </a:lnTo>
                  <a:lnTo>
                    <a:pt x="146" y="15"/>
                  </a:lnTo>
                  <a:lnTo>
                    <a:pt x="153" y="21"/>
                  </a:lnTo>
                  <a:lnTo>
                    <a:pt x="158" y="28"/>
                  </a:lnTo>
                  <a:lnTo>
                    <a:pt x="158" y="28"/>
                  </a:lnTo>
                  <a:lnTo>
                    <a:pt x="164" y="35"/>
                  </a:lnTo>
                  <a:lnTo>
                    <a:pt x="170" y="42"/>
                  </a:lnTo>
                  <a:lnTo>
                    <a:pt x="174" y="50"/>
                  </a:lnTo>
                  <a:lnTo>
                    <a:pt x="177" y="60"/>
                  </a:lnTo>
                  <a:lnTo>
                    <a:pt x="179" y="69"/>
                  </a:lnTo>
                  <a:lnTo>
                    <a:pt x="182" y="80"/>
                  </a:lnTo>
                  <a:lnTo>
                    <a:pt x="184" y="101"/>
                  </a:lnTo>
                  <a:lnTo>
                    <a:pt x="0" y="1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custData r:id="rId1"/>
      <p:custData r:id="rId2"/>
    </p:custDataLst>
    <p:extLst>
      <p:ext uri="{BB962C8B-B14F-4D97-AF65-F5344CB8AC3E}">
        <p14:creationId xmlns:p14="http://schemas.microsoft.com/office/powerpoint/2010/main" val="155280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E35DC-461F-4BF8-AA9D-7675FA73DCC3}"/>
              </a:ext>
            </a:extLst>
          </p:cNvPr>
          <p:cNvSpPr>
            <a:spLocks noGrp="1"/>
          </p:cNvSpPr>
          <p:nvPr>
            <p:ph type="title"/>
          </p:nvPr>
        </p:nvSpPr>
        <p:spPr/>
        <p:txBody>
          <a:bodyPr/>
          <a:lstStyle/>
          <a:p>
            <a:r>
              <a:rPr lang="it-IT" dirty="0"/>
              <a:t>Front-End – Administrator flow</a:t>
            </a:r>
            <a:endParaRPr lang="en-US" dirty="0"/>
          </a:p>
        </p:txBody>
      </p:sp>
      <p:pic>
        <p:nvPicPr>
          <p:cNvPr id="4" name="Picture 3" descr="Diagram&#10;&#10;Description automatically generated">
            <a:extLst>
              <a:ext uri="{FF2B5EF4-FFF2-40B4-BE49-F238E27FC236}">
                <a16:creationId xmlns:a16="http://schemas.microsoft.com/office/drawing/2014/main" id="{7862ACFF-20B2-4080-BBAD-1A6DFFBABD35}"/>
              </a:ext>
            </a:extLst>
          </p:cNvPr>
          <p:cNvPicPr>
            <a:picLocks noChangeAspect="1"/>
          </p:cNvPicPr>
          <p:nvPr/>
        </p:nvPicPr>
        <p:blipFill>
          <a:blip r:embed="rId3"/>
          <a:stretch>
            <a:fillRect/>
          </a:stretch>
        </p:blipFill>
        <p:spPr>
          <a:xfrm>
            <a:off x="708860" y="1066800"/>
            <a:ext cx="10774279" cy="4953691"/>
          </a:xfrm>
          <a:prstGeom prst="rect">
            <a:avLst/>
          </a:prstGeom>
        </p:spPr>
      </p:pic>
    </p:spTree>
    <p:extLst>
      <p:ext uri="{BB962C8B-B14F-4D97-AF65-F5344CB8AC3E}">
        <p14:creationId xmlns:p14="http://schemas.microsoft.com/office/powerpoint/2010/main" val="40545319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application&#10;&#10;Description automatically generated">
            <a:extLst>
              <a:ext uri="{FF2B5EF4-FFF2-40B4-BE49-F238E27FC236}">
                <a16:creationId xmlns:a16="http://schemas.microsoft.com/office/drawing/2014/main" id="{DB16F061-1062-46EB-A6F9-4EA887BA8870}"/>
              </a:ext>
            </a:extLst>
          </p:cNvPr>
          <p:cNvPicPr>
            <a:picLocks noChangeAspect="1"/>
          </p:cNvPicPr>
          <p:nvPr/>
        </p:nvPicPr>
        <p:blipFill>
          <a:blip r:embed="rId3"/>
          <a:stretch>
            <a:fillRect/>
          </a:stretch>
        </p:blipFill>
        <p:spPr>
          <a:xfrm>
            <a:off x="0" y="0"/>
            <a:ext cx="6158927" cy="3891187"/>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29B3C347-724F-49FB-8890-E77D3E50E149}"/>
              </a:ext>
            </a:extLst>
          </p:cNvPr>
          <p:cNvPicPr>
            <a:picLocks noChangeAspect="1"/>
          </p:cNvPicPr>
          <p:nvPr/>
        </p:nvPicPr>
        <p:blipFill>
          <a:blip r:embed="rId4"/>
          <a:stretch>
            <a:fillRect/>
          </a:stretch>
        </p:blipFill>
        <p:spPr>
          <a:xfrm>
            <a:off x="5462954" y="2447274"/>
            <a:ext cx="6729046" cy="4410725"/>
          </a:xfrm>
          <a:prstGeom prst="rect">
            <a:avLst/>
          </a:prstGeom>
        </p:spPr>
      </p:pic>
      <p:sp>
        <p:nvSpPr>
          <p:cNvPr id="4" name="Title 1">
            <a:extLst>
              <a:ext uri="{FF2B5EF4-FFF2-40B4-BE49-F238E27FC236}">
                <a16:creationId xmlns:a16="http://schemas.microsoft.com/office/drawing/2014/main" id="{7E703FAF-30CA-460D-A0F9-791C2DD3705E}"/>
              </a:ext>
            </a:extLst>
          </p:cNvPr>
          <p:cNvSpPr>
            <a:spLocks noGrp="1"/>
          </p:cNvSpPr>
          <p:nvPr>
            <p:ph type="title"/>
          </p:nvPr>
        </p:nvSpPr>
        <p:spPr>
          <a:xfrm>
            <a:off x="7151077" y="436237"/>
            <a:ext cx="3810000" cy="787400"/>
          </a:xfrm>
        </p:spPr>
        <p:txBody>
          <a:bodyPr/>
          <a:lstStyle/>
          <a:p>
            <a:r>
              <a:rPr lang="it-IT" dirty="0"/>
              <a:t>Front-End – End User View</a:t>
            </a:r>
            <a:endParaRPr lang="en-US" dirty="0"/>
          </a:p>
        </p:txBody>
      </p:sp>
    </p:spTree>
    <p:extLst>
      <p:ext uri="{BB962C8B-B14F-4D97-AF65-F5344CB8AC3E}">
        <p14:creationId xmlns:p14="http://schemas.microsoft.com/office/powerpoint/2010/main" val="22034068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3">
            <a:extLst>
              <a:ext uri="{FF2B5EF4-FFF2-40B4-BE49-F238E27FC236}">
                <a16:creationId xmlns:a16="http://schemas.microsoft.com/office/drawing/2014/main" id="{3C91BE53-DF88-4F92-BB64-1BD034CC8138}"/>
              </a:ext>
            </a:extLst>
          </p:cNvPr>
          <p:cNvSpPr>
            <a:spLocks/>
          </p:cNvSpPr>
          <p:nvPr/>
        </p:nvSpPr>
        <p:spPr bwMode="gray">
          <a:xfrm>
            <a:off x="2505075" y="2664927"/>
            <a:ext cx="9229725" cy="761038"/>
          </a:xfrm>
          <a:prstGeom prst="roundRect">
            <a:avLst>
              <a:gd name="adj" fmla="val 50000"/>
            </a:avLst>
          </a:prstGeom>
          <a:solidFill>
            <a:srgbClr val="43B02A"/>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it-IT" sz="1300" dirty="0"/>
              <a:t>Cr</a:t>
            </a:r>
            <a:r>
              <a:rPr lang="en-US" sz="1300" dirty="0" err="1"/>
              <a:t>eate</a:t>
            </a:r>
            <a:r>
              <a:rPr lang="en-US" sz="1300" dirty="0"/>
              <a:t> charts and graphs that could be used for data analysis. </a:t>
            </a:r>
          </a:p>
        </p:txBody>
      </p:sp>
      <p:sp>
        <p:nvSpPr>
          <p:cNvPr id="25" name="Freeform 7">
            <a:extLst>
              <a:ext uri="{FF2B5EF4-FFF2-40B4-BE49-F238E27FC236}">
                <a16:creationId xmlns:a16="http://schemas.microsoft.com/office/drawing/2014/main" id="{C5585952-DA28-4447-A394-33918970EAD1}"/>
              </a:ext>
            </a:extLst>
          </p:cNvPr>
          <p:cNvSpPr>
            <a:spLocks/>
          </p:cNvSpPr>
          <p:nvPr/>
        </p:nvSpPr>
        <p:spPr bwMode="gray">
          <a:xfrm>
            <a:off x="2505075" y="4098193"/>
            <a:ext cx="9229725" cy="761038"/>
          </a:xfrm>
          <a:prstGeom prst="roundRect">
            <a:avLst>
              <a:gd name="adj" fmla="val 50000"/>
            </a:avLst>
          </a:prstGeom>
          <a:solidFill>
            <a:srgbClr val="009A44"/>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able promotion system between environments.</a:t>
            </a:r>
          </a:p>
        </p:txBody>
      </p:sp>
      <p:sp>
        <p:nvSpPr>
          <p:cNvPr id="27" name="Freeform 3">
            <a:extLst>
              <a:ext uri="{FF2B5EF4-FFF2-40B4-BE49-F238E27FC236}">
                <a16:creationId xmlns:a16="http://schemas.microsoft.com/office/drawing/2014/main" id="{DDA5BF05-EBA5-4AC4-9C58-42F075B660A9}"/>
              </a:ext>
            </a:extLst>
          </p:cNvPr>
          <p:cNvSpPr>
            <a:spLocks/>
          </p:cNvSpPr>
          <p:nvPr/>
        </p:nvSpPr>
        <p:spPr bwMode="gray">
          <a:xfrm>
            <a:off x="2505075" y="1208215"/>
            <a:ext cx="9229725" cy="761038"/>
          </a:xfrm>
          <a:prstGeom prst="roundRect">
            <a:avLst>
              <a:gd name="adj" fmla="val 50000"/>
            </a:avLst>
          </a:prstGeom>
          <a:solidFill>
            <a:srgbClr val="86BC25"/>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Validation step where an administrator accept the changes on a table.</a:t>
            </a:r>
          </a:p>
        </p:txBody>
      </p:sp>
      <p:sp>
        <p:nvSpPr>
          <p:cNvPr id="28" name="Trapezoid 27">
            <a:extLst>
              <a:ext uri="{FF2B5EF4-FFF2-40B4-BE49-F238E27FC236}">
                <a16:creationId xmlns:a16="http://schemas.microsoft.com/office/drawing/2014/main" id="{66E0DFA9-CDD7-4843-AA91-814141E931A3}"/>
              </a:ext>
            </a:extLst>
          </p:cNvPr>
          <p:cNvSpPr/>
          <p:nvPr/>
        </p:nvSpPr>
        <p:spPr bwMode="gray">
          <a:xfrm rot="16200000">
            <a:off x="-534859" y="1749681"/>
            <a:ext cx="4673706" cy="2606312"/>
          </a:xfrm>
          <a:prstGeom prst="trapezoid">
            <a:avLst>
              <a:gd name="adj" fmla="val 89769"/>
            </a:avLst>
          </a:prstGeom>
          <a:solidFill>
            <a:srgbClr val="FFFFFF"/>
          </a:solidFill>
          <a:ln w="19050" algn="ctr">
            <a:noFill/>
            <a:miter lim="800000"/>
            <a:headEnd/>
            <a:tailEnd/>
          </a:ln>
          <a:effectLst>
            <a:outerShdw blurRad="50800" dist="38100" algn="l" rotWithShape="0">
              <a:prstClr val="black">
                <a:alpha val="40000"/>
              </a:prstClr>
            </a:outerShdw>
          </a:effectLst>
        </p:spPr>
        <p:txBody>
          <a:bodyPr wrap="square" lIns="68580" tIns="68580" rIns="68580" bIns="68580" rtlCol="0" anchor="ctr"/>
          <a:lstStyle/>
          <a:p>
            <a:pPr algn="ctr">
              <a:buFont typeface="Wingdings 2" pitchFamily="18" charset="2"/>
              <a:buNone/>
            </a:pPr>
            <a:endParaRPr lang="en-US" sz="1300" dirty="0"/>
          </a:p>
        </p:txBody>
      </p:sp>
      <p:sp>
        <p:nvSpPr>
          <p:cNvPr id="29" name="Freeform 627">
            <a:extLst>
              <a:ext uri="{FF2B5EF4-FFF2-40B4-BE49-F238E27FC236}">
                <a16:creationId xmlns:a16="http://schemas.microsoft.com/office/drawing/2014/main" id="{9460301B-7D40-4094-A345-2595481D3E87}"/>
              </a:ext>
            </a:extLst>
          </p:cNvPr>
          <p:cNvSpPr>
            <a:spLocks noChangeAspect="1" noEditPoints="1"/>
          </p:cNvSpPr>
          <p:nvPr/>
        </p:nvSpPr>
        <p:spPr bwMode="auto">
          <a:xfrm>
            <a:off x="2409282" y="1302968"/>
            <a:ext cx="575218" cy="571532"/>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30" name="Freeform 584">
            <a:extLst>
              <a:ext uri="{FF2B5EF4-FFF2-40B4-BE49-F238E27FC236}">
                <a16:creationId xmlns:a16="http://schemas.microsoft.com/office/drawing/2014/main" id="{2CDF42EB-6F45-4A06-BD18-E6134AA1A252}"/>
              </a:ext>
            </a:extLst>
          </p:cNvPr>
          <p:cNvSpPr>
            <a:spLocks noChangeAspect="1" noEditPoints="1"/>
          </p:cNvSpPr>
          <p:nvPr/>
        </p:nvSpPr>
        <p:spPr bwMode="auto">
          <a:xfrm>
            <a:off x="2409800" y="2759711"/>
            <a:ext cx="574184" cy="5714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31" name="Freeform 36">
            <a:extLst>
              <a:ext uri="{FF2B5EF4-FFF2-40B4-BE49-F238E27FC236}">
                <a16:creationId xmlns:a16="http://schemas.microsoft.com/office/drawing/2014/main" id="{5D1BF13F-CAFB-4691-838F-0413482239FE}"/>
              </a:ext>
            </a:extLst>
          </p:cNvPr>
          <p:cNvSpPr>
            <a:spLocks noEditPoints="1"/>
          </p:cNvSpPr>
          <p:nvPr/>
        </p:nvSpPr>
        <p:spPr bwMode="auto">
          <a:xfrm>
            <a:off x="2409799" y="4191620"/>
            <a:ext cx="574184" cy="574184"/>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33" name="Oval 8" descr="bus_collage2">
            <a:extLst>
              <a:ext uri="{FF2B5EF4-FFF2-40B4-BE49-F238E27FC236}">
                <a16:creationId xmlns:a16="http://schemas.microsoft.com/office/drawing/2014/main" id="{9EBF5187-9AC5-4686-9D07-7F3CE208EE0C}"/>
              </a:ext>
            </a:extLst>
          </p:cNvPr>
          <p:cNvSpPr>
            <a:spLocks noChangeArrowheads="1"/>
          </p:cNvSpPr>
          <p:nvPr/>
        </p:nvSpPr>
        <p:spPr bwMode="gray">
          <a:xfrm>
            <a:off x="498838" y="2321382"/>
            <a:ext cx="1462914" cy="1462911"/>
          </a:xfrm>
          <a:prstGeom prst="ellipse">
            <a:avLst/>
          </a:prstGeom>
          <a:solidFill>
            <a:srgbClr val="009A44"/>
          </a:solidFill>
          <a:ln w="9525">
            <a:noFill/>
          </a:ln>
          <a:effectLst/>
        </p:spPr>
        <p:style>
          <a:lnRef idx="3">
            <a:schemeClr val="lt1"/>
          </a:lnRef>
          <a:fillRef idx="1">
            <a:schemeClr val="accent6"/>
          </a:fillRef>
          <a:effectRef idx="1">
            <a:schemeClr val="accent6"/>
          </a:effectRef>
          <a:fontRef idx="minor">
            <a:schemeClr val="lt1"/>
          </a:fontRef>
        </p:style>
        <p:txBody>
          <a:bodyPr wrap="none" lIns="0" tIns="68580" rIns="0" bIns="68580" rtlCol="0" anchor="ctr"/>
          <a:lstStyle/>
          <a:p>
            <a:pPr algn="ctr" defTabSz="813197"/>
            <a:r>
              <a:rPr lang="en-US" sz="1300" b="1" dirty="0">
                <a:solidFill>
                  <a:schemeClr val="bg1"/>
                </a:solidFill>
                <a:cs typeface="Verdana" panose="020B0604030504040204" pitchFamily="34" charset="0"/>
              </a:rPr>
              <a:t>Future </a:t>
            </a:r>
          </a:p>
          <a:p>
            <a:pPr algn="ctr" defTabSz="813197"/>
            <a:r>
              <a:rPr lang="en-US" sz="1300" b="1" dirty="0">
                <a:solidFill>
                  <a:schemeClr val="bg1"/>
                </a:solidFill>
                <a:cs typeface="Verdana" panose="020B0604030504040204" pitchFamily="34" charset="0"/>
              </a:rPr>
              <a:t>development</a:t>
            </a:r>
          </a:p>
        </p:txBody>
      </p:sp>
    </p:spTree>
    <p:extLst>
      <p:ext uri="{BB962C8B-B14F-4D97-AF65-F5344CB8AC3E}">
        <p14:creationId xmlns:p14="http://schemas.microsoft.com/office/powerpoint/2010/main" val="122855322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ABB5CAE7-1E84-6F49-B80F-CA02C385033C}"/>
              </a:ext>
            </a:extLst>
          </p:cNvPr>
          <p:cNvSpPr txBox="1">
            <a:spLocks/>
          </p:cNvSpPr>
          <p:nvPr/>
        </p:nvSpPr>
        <p:spPr>
          <a:xfrm>
            <a:off x="914401" y="3492347"/>
            <a:ext cx="3241675" cy="2673502"/>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30000"/>
              </a:lnSpc>
              <a:spcBef>
                <a:spcPts val="0"/>
              </a:spcBef>
            </a:pPr>
            <a:r>
              <a:rPr lang="en-US" sz="800" b="1" spc="0" dirty="0">
                <a:solidFill>
                  <a:schemeClr val="tx1"/>
                </a:solidFill>
                <a:latin typeface="+mn-lt"/>
                <a:ea typeface="Chronicle Display Black" charset="0"/>
                <a:cs typeface="Chronicle Display Black" charset="0"/>
              </a:rPr>
              <a:t>Michael Daniel Naguib</a:t>
            </a:r>
          </a:p>
          <a:p>
            <a:pPr>
              <a:lnSpc>
                <a:spcPct val="130000"/>
              </a:lnSpc>
              <a:spcBef>
                <a:spcPts val="0"/>
              </a:spcBef>
            </a:pPr>
            <a:r>
              <a:rPr lang="en-US" sz="800" b="1" dirty="0">
                <a:solidFill>
                  <a:schemeClr val="tx1"/>
                </a:solidFill>
              </a:rPr>
              <a:t>Contact: </a:t>
            </a:r>
            <a:r>
              <a:rPr lang="en-US" sz="800" dirty="0">
                <a:solidFill>
                  <a:schemeClr val="tx1"/>
                </a:solidFill>
              </a:rPr>
              <a:t>mdanielnaguib@deloitte.it</a:t>
            </a:r>
          </a:p>
          <a:p>
            <a:pPr>
              <a:lnSpc>
                <a:spcPct val="130000"/>
              </a:lnSpc>
              <a:spcBef>
                <a:spcPts val="0"/>
              </a:spcBef>
            </a:pPr>
            <a:endParaRPr lang="en-US" sz="800" b="1" spc="0" dirty="0">
              <a:solidFill>
                <a:schemeClr val="tx1"/>
              </a:solidFill>
              <a:ea typeface="Chronicle Display Black" charset="0"/>
              <a:cs typeface="Chronicle Display Black" charset="0"/>
            </a:endParaRPr>
          </a:p>
        </p:txBody>
      </p:sp>
      <p:sp>
        <p:nvSpPr>
          <p:cNvPr id="3" name="Rectangle 2">
            <a:extLst>
              <a:ext uri="{FF2B5EF4-FFF2-40B4-BE49-F238E27FC236}">
                <a16:creationId xmlns:a16="http://schemas.microsoft.com/office/drawing/2014/main" id="{FB5F9A92-4B55-496F-9A5F-9C78D9A3FCE1}"/>
              </a:ext>
            </a:extLst>
          </p:cNvPr>
          <p:cNvSpPr/>
          <p:nvPr/>
        </p:nvSpPr>
        <p:spPr bwMode="gray">
          <a:xfrm>
            <a:off x="762000" y="785447"/>
            <a:ext cx="2016369" cy="797169"/>
          </a:xfrm>
          <a:prstGeom prst="rect">
            <a:avLst/>
          </a:prstGeom>
          <a:solidFill>
            <a:schemeClr val="bg1"/>
          </a:solidFill>
          <a:ln w="19050" algn="ctr">
            <a:noFill/>
            <a:miter lim="800000"/>
            <a:headEnd/>
            <a:tailEnd/>
          </a:ln>
        </p:spPr>
        <p:txBody>
          <a:bodyPr wrap="square" lIns="0" tIns="0" rIns="0" bIns="0" rtlCol="0" anchor="ctr"/>
          <a:lstStyle/>
          <a:p>
            <a:pPr algn="ctr"/>
            <a:endParaRPr lang="en-US"/>
          </a:p>
        </p:txBody>
      </p:sp>
    </p:spTree>
    <p:custDataLst>
      <p:custData r:id="rId1"/>
      <p:custData r:id="rId2"/>
    </p:custDataLst>
    <p:extLst>
      <p:ext uri="{BB962C8B-B14F-4D97-AF65-F5344CB8AC3E}">
        <p14:creationId xmlns:p14="http://schemas.microsoft.com/office/powerpoint/2010/main" val="2967603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475FC59-0988-8748-8C03-7E28C6A058C9}"/>
              </a:ext>
            </a:extLst>
          </p:cNvPr>
          <p:cNvSpPr>
            <a:spLocks noGrp="1"/>
          </p:cNvSpPr>
          <p:nvPr>
            <p:ph type="title"/>
          </p:nvPr>
        </p:nvSpPr>
        <p:spPr/>
        <p:txBody>
          <a:bodyPr/>
          <a:lstStyle/>
          <a:p>
            <a:r>
              <a:rPr lang="en-AU" dirty="0"/>
              <a:t>Contents</a:t>
            </a:r>
          </a:p>
        </p:txBody>
      </p:sp>
      <p:sp>
        <p:nvSpPr>
          <p:cNvPr id="16" name="Text Placeholder 15">
            <a:extLst>
              <a:ext uri="{FF2B5EF4-FFF2-40B4-BE49-F238E27FC236}">
                <a16:creationId xmlns:a16="http://schemas.microsoft.com/office/drawing/2014/main" id="{6D09A757-E4B1-F04E-9E47-72B3B10CBF68}"/>
              </a:ext>
            </a:extLst>
          </p:cNvPr>
          <p:cNvSpPr>
            <a:spLocks noGrp="1"/>
          </p:cNvSpPr>
          <p:nvPr>
            <p:ph type="body" sz="quarter" idx="26"/>
          </p:nvPr>
        </p:nvSpPr>
        <p:spPr>
          <a:xfrm>
            <a:off x="914400" y="495992"/>
            <a:ext cx="3488042" cy="139781"/>
          </a:xfrm>
        </p:spPr>
        <p:txBody>
          <a:bodyPr/>
          <a:lstStyle/>
          <a:p>
            <a:r>
              <a:rPr lang="en-AU" dirty="0"/>
              <a:t>DELOITTE</a:t>
            </a:r>
          </a:p>
        </p:txBody>
      </p:sp>
      <p:sp>
        <p:nvSpPr>
          <p:cNvPr id="17" name="Text Placeholder 16">
            <a:extLst>
              <a:ext uri="{FF2B5EF4-FFF2-40B4-BE49-F238E27FC236}">
                <a16:creationId xmlns:a16="http://schemas.microsoft.com/office/drawing/2014/main" id="{BF2534A4-5688-2440-A80B-248A0E9E3992}"/>
              </a:ext>
            </a:extLst>
          </p:cNvPr>
          <p:cNvSpPr>
            <a:spLocks noGrp="1"/>
          </p:cNvSpPr>
          <p:nvPr>
            <p:ph type="body" sz="quarter" idx="27"/>
          </p:nvPr>
        </p:nvSpPr>
        <p:spPr>
          <a:xfrm>
            <a:off x="8033674" y="1196975"/>
            <a:ext cx="2743200" cy="288134"/>
          </a:xfrm>
        </p:spPr>
        <p:txBody>
          <a:bodyPr/>
          <a:lstStyle/>
          <a:p>
            <a:r>
              <a:rPr lang="en-AU" sz="1600" dirty="0"/>
              <a:t>The Problem</a:t>
            </a:r>
          </a:p>
        </p:txBody>
      </p:sp>
      <p:sp>
        <p:nvSpPr>
          <p:cNvPr id="18" name="Text Placeholder 17">
            <a:extLst>
              <a:ext uri="{FF2B5EF4-FFF2-40B4-BE49-F238E27FC236}">
                <a16:creationId xmlns:a16="http://schemas.microsoft.com/office/drawing/2014/main" id="{E39AE225-C200-C444-9441-3268C5BFA92C}"/>
              </a:ext>
            </a:extLst>
          </p:cNvPr>
          <p:cNvSpPr>
            <a:spLocks noGrp="1"/>
          </p:cNvSpPr>
          <p:nvPr>
            <p:ph type="body" sz="quarter" idx="28"/>
          </p:nvPr>
        </p:nvSpPr>
        <p:spPr>
          <a:xfrm>
            <a:off x="8033674" y="1805722"/>
            <a:ext cx="2743200" cy="288134"/>
          </a:xfrm>
        </p:spPr>
        <p:txBody>
          <a:bodyPr/>
          <a:lstStyle/>
          <a:p>
            <a:r>
              <a:rPr lang="en-AU" sz="1600" dirty="0"/>
              <a:t>Data Entry Tool</a:t>
            </a:r>
          </a:p>
        </p:txBody>
      </p:sp>
      <p:sp>
        <p:nvSpPr>
          <p:cNvPr id="19" name="Text Placeholder 18">
            <a:extLst>
              <a:ext uri="{FF2B5EF4-FFF2-40B4-BE49-F238E27FC236}">
                <a16:creationId xmlns:a16="http://schemas.microsoft.com/office/drawing/2014/main" id="{F7AB4C4B-FAB0-A245-AA6F-7696E4310075}"/>
              </a:ext>
            </a:extLst>
          </p:cNvPr>
          <p:cNvSpPr>
            <a:spLocks noGrp="1"/>
          </p:cNvSpPr>
          <p:nvPr>
            <p:ph type="body" sz="quarter" idx="29"/>
          </p:nvPr>
        </p:nvSpPr>
        <p:spPr>
          <a:xfrm>
            <a:off x="8033674" y="2414469"/>
            <a:ext cx="2743200" cy="288134"/>
          </a:xfrm>
        </p:spPr>
        <p:txBody>
          <a:bodyPr/>
          <a:lstStyle/>
          <a:p>
            <a:r>
              <a:rPr lang="en-AU" sz="1600" dirty="0"/>
              <a:t>Final Results</a:t>
            </a:r>
          </a:p>
        </p:txBody>
      </p:sp>
      <p:sp>
        <p:nvSpPr>
          <p:cNvPr id="14" name="Text Placeholder 13">
            <a:extLst>
              <a:ext uri="{FF2B5EF4-FFF2-40B4-BE49-F238E27FC236}">
                <a16:creationId xmlns:a16="http://schemas.microsoft.com/office/drawing/2014/main" id="{1DD08BEB-C27D-1A4A-9E2E-DAB01A248076}"/>
              </a:ext>
            </a:extLst>
          </p:cNvPr>
          <p:cNvSpPr>
            <a:spLocks noGrp="1"/>
          </p:cNvSpPr>
          <p:nvPr>
            <p:ph type="body" sz="quarter" idx="24"/>
          </p:nvPr>
        </p:nvSpPr>
        <p:spPr>
          <a:xfrm>
            <a:off x="7477125" y="1309079"/>
            <a:ext cx="414660" cy="1452139"/>
          </a:xfrm>
        </p:spPr>
        <p:txBody>
          <a:bodyPr/>
          <a:lstStyle/>
          <a:p>
            <a:r>
              <a:rPr lang="en-AU" sz="2000" dirty="0"/>
              <a:t>01</a:t>
            </a:r>
          </a:p>
          <a:p>
            <a:endParaRPr lang="en-AU" sz="2000" dirty="0"/>
          </a:p>
          <a:p>
            <a:r>
              <a:rPr lang="en-AU" sz="2000" dirty="0"/>
              <a:t>02</a:t>
            </a:r>
          </a:p>
          <a:p>
            <a:endParaRPr lang="en-AU" sz="2000" dirty="0"/>
          </a:p>
          <a:p>
            <a:r>
              <a:rPr lang="en-AU" sz="2000" dirty="0"/>
              <a:t>03</a:t>
            </a:r>
          </a:p>
          <a:p>
            <a:endParaRPr lang="en-AU" sz="2000" dirty="0"/>
          </a:p>
        </p:txBody>
      </p:sp>
    </p:spTree>
    <p:extLst>
      <p:ext uri="{BB962C8B-B14F-4D97-AF65-F5344CB8AC3E}">
        <p14:creationId xmlns:p14="http://schemas.microsoft.com/office/powerpoint/2010/main" val="2105781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Placeholder 31">
            <a:extLst>
              <a:ext uri="{FF2B5EF4-FFF2-40B4-BE49-F238E27FC236}">
                <a16:creationId xmlns:a16="http://schemas.microsoft.com/office/drawing/2014/main" id="{E52F5495-70B0-334B-8BAB-AF671811DE96}"/>
              </a:ext>
              <a:ext uri="{C183D7F6-B498-43B3-948B-1728B52AA6E4}">
                <adec:decorative xmlns:adec="http://schemas.microsoft.com/office/drawing/2017/decorative" val="1"/>
              </a:ext>
            </a:extLst>
          </p:cNvPr>
          <p:cNvPicPr>
            <a:picLocks noGrp="1" noChangeAspect="1"/>
          </p:cNvPicPr>
          <p:nvPr>
            <p:ph type="pic" sz="quarter" idx="12"/>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p:spPr>
      </p:pic>
      <p:sp>
        <p:nvSpPr>
          <p:cNvPr id="13" name="Text Placeholder 12">
            <a:extLst>
              <a:ext uri="{FF2B5EF4-FFF2-40B4-BE49-F238E27FC236}">
                <a16:creationId xmlns:a16="http://schemas.microsoft.com/office/drawing/2014/main" id="{84640765-7CE3-6D4B-AB74-6AFBA4A2D9CB}"/>
              </a:ext>
            </a:extLst>
          </p:cNvPr>
          <p:cNvSpPr>
            <a:spLocks noGrp="1"/>
          </p:cNvSpPr>
          <p:nvPr>
            <p:ph type="body" sz="quarter" idx="11"/>
          </p:nvPr>
        </p:nvSpPr>
        <p:spPr>
          <a:xfrm>
            <a:off x="0" y="3773170"/>
            <a:ext cx="4622800" cy="984885"/>
          </a:xfrm>
        </p:spPr>
        <p:txBody>
          <a:bodyPr/>
          <a:lstStyle/>
          <a:p>
            <a:r>
              <a:rPr lang="it-IT" dirty="0"/>
              <a:t>T</a:t>
            </a:r>
            <a:r>
              <a:rPr lang="en-US" dirty="0"/>
              <a:t>he Problem</a:t>
            </a:r>
          </a:p>
        </p:txBody>
      </p:sp>
      <p:grpSp>
        <p:nvGrpSpPr>
          <p:cNvPr id="5" name="Group 4" descr="Deloitte Digital logo">
            <a:extLst>
              <a:ext uri="{FF2B5EF4-FFF2-40B4-BE49-F238E27FC236}">
                <a16:creationId xmlns:a16="http://schemas.microsoft.com/office/drawing/2014/main" id="{6BB09786-3180-4EA8-8645-34AC3D8B562C}"/>
              </a:ext>
            </a:extLst>
          </p:cNvPr>
          <p:cNvGrpSpPr>
            <a:grpSpLocks noChangeAspect="1"/>
          </p:cNvGrpSpPr>
          <p:nvPr/>
        </p:nvGrpSpPr>
        <p:grpSpPr bwMode="auto">
          <a:xfrm>
            <a:off x="1000690" y="502998"/>
            <a:ext cx="821483" cy="153495"/>
            <a:chOff x="2684" y="1627"/>
            <a:chExt cx="2312" cy="432"/>
          </a:xfrm>
        </p:grpSpPr>
        <p:sp>
          <p:nvSpPr>
            <p:cNvPr id="6" name="Freeform 5">
              <a:extLst>
                <a:ext uri="{FF2B5EF4-FFF2-40B4-BE49-F238E27FC236}">
                  <a16:creationId xmlns:a16="http://schemas.microsoft.com/office/drawing/2014/main" id="{549B0FB0-2AA9-46F8-BBBB-B2D70129504A}"/>
                </a:ext>
              </a:extLst>
            </p:cNvPr>
            <p:cNvSpPr>
              <a:spLocks/>
            </p:cNvSpPr>
            <p:nvPr/>
          </p:nvSpPr>
          <p:spPr bwMode="auto">
            <a:xfrm>
              <a:off x="4873" y="1937"/>
              <a:ext cx="123" cy="122"/>
            </a:xfrm>
            <a:custGeom>
              <a:avLst/>
              <a:gdLst>
                <a:gd name="T0" fmla="*/ 0 w 245"/>
                <a:gd name="T1" fmla="*/ 123 h 245"/>
                <a:gd name="T2" fmla="*/ 3 w 245"/>
                <a:gd name="T3" fmla="*/ 98 h 245"/>
                <a:gd name="T4" fmla="*/ 10 w 245"/>
                <a:gd name="T5" fmla="*/ 75 h 245"/>
                <a:gd name="T6" fmla="*/ 21 w 245"/>
                <a:gd name="T7" fmla="*/ 54 h 245"/>
                <a:gd name="T8" fmla="*/ 36 w 245"/>
                <a:gd name="T9" fmla="*/ 36 h 245"/>
                <a:gd name="T10" fmla="*/ 54 w 245"/>
                <a:gd name="T11" fmla="*/ 21 h 245"/>
                <a:gd name="T12" fmla="*/ 75 w 245"/>
                <a:gd name="T13" fmla="*/ 9 h 245"/>
                <a:gd name="T14" fmla="*/ 98 w 245"/>
                <a:gd name="T15" fmla="*/ 2 h 245"/>
                <a:gd name="T16" fmla="*/ 123 w 245"/>
                <a:gd name="T17" fmla="*/ 0 h 245"/>
                <a:gd name="T18" fmla="*/ 134 w 245"/>
                <a:gd name="T19" fmla="*/ 1 h 245"/>
                <a:gd name="T20" fmla="*/ 160 w 245"/>
                <a:gd name="T21" fmla="*/ 5 h 245"/>
                <a:gd name="T22" fmla="*/ 181 w 245"/>
                <a:gd name="T23" fmla="*/ 15 h 245"/>
                <a:gd name="T24" fmla="*/ 200 w 245"/>
                <a:gd name="T25" fmla="*/ 28 h 245"/>
                <a:gd name="T26" fmla="*/ 217 w 245"/>
                <a:gd name="T27" fmla="*/ 44 h 245"/>
                <a:gd name="T28" fmla="*/ 230 w 245"/>
                <a:gd name="T29" fmla="*/ 64 h 245"/>
                <a:gd name="T30" fmla="*/ 239 w 245"/>
                <a:gd name="T31" fmla="*/ 86 h 245"/>
                <a:gd name="T32" fmla="*/ 245 w 245"/>
                <a:gd name="T33" fmla="*/ 110 h 245"/>
                <a:gd name="T34" fmla="*/ 245 w 245"/>
                <a:gd name="T35" fmla="*/ 123 h 245"/>
                <a:gd name="T36" fmla="*/ 242 w 245"/>
                <a:gd name="T37" fmla="*/ 147 h 245"/>
                <a:gd name="T38" fmla="*/ 235 w 245"/>
                <a:gd name="T39" fmla="*/ 171 h 245"/>
                <a:gd name="T40" fmla="*/ 224 w 245"/>
                <a:gd name="T41" fmla="*/ 192 h 245"/>
                <a:gd name="T42" fmla="*/ 209 w 245"/>
                <a:gd name="T43" fmla="*/ 210 h 245"/>
                <a:gd name="T44" fmla="*/ 190 w 245"/>
                <a:gd name="T45" fmla="*/ 224 h 245"/>
                <a:gd name="T46" fmla="*/ 171 w 245"/>
                <a:gd name="T47" fmla="*/ 235 h 245"/>
                <a:gd name="T48" fmla="*/ 147 w 245"/>
                <a:gd name="T49" fmla="*/ 242 h 245"/>
                <a:gd name="T50" fmla="*/ 123 w 245"/>
                <a:gd name="T51" fmla="*/ 245 h 245"/>
                <a:gd name="T52" fmla="*/ 110 w 245"/>
                <a:gd name="T53" fmla="*/ 245 h 245"/>
                <a:gd name="T54" fmla="*/ 87 w 245"/>
                <a:gd name="T55" fmla="*/ 239 h 245"/>
                <a:gd name="T56" fmla="*/ 64 w 245"/>
                <a:gd name="T57" fmla="*/ 231 h 245"/>
                <a:gd name="T58" fmla="*/ 45 w 245"/>
                <a:gd name="T59" fmla="*/ 217 h 245"/>
                <a:gd name="T60" fmla="*/ 28 w 245"/>
                <a:gd name="T61" fmla="*/ 200 h 245"/>
                <a:gd name="T62" fmla="*/ 15 w 245"/>
                <a:gd name="T63" fmla="*/ 180 h 245"/>
                <a:gd name="T64" fmla="*/ 5 w 245"/>
                <a:gd name="T65" fmla="*/ 159 h 245"/>
                <a:gd name="T66" fmla="*/ 1 w 245"/>
                <a:gd name="T67" fmla="*/ 1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5" h="245">
                  <a:moveTo>
                    <a:pt x="0" y="123"/>
                  </a:moveTo>
                  <a:lnTo>
                    <a:pt x="0" y="123"/>
                  </a:lnTo>
                  <a:lnTo>
                    <a:pt x="1" y="110"/>
                  </a:lnTo>
                  <a:lnTo>
                    <a:pt x="3" y="98"/>
                  </a:lnTo>
                  <a:lnTo>
                    <a:pt x="5" y="86"/>
                  </a:lnTo>
                  <a:lnTo>
                    <a:pt x="10" y="75"/>
                  </a:lnTo>
                  <a:lnTo>
                    <a:pt x="15" y="64"/>
                  </a:lnTo>
                  <a:lnTo>
                    <a:pt x="21" y="54"/>
                  </a:lnTo>
                  <a:lnTo>
                    <a:pt x="28" y="44"/>
                  </a:lnTo>
                  <a:lnTo>
                    <a:pt x="36" y="36"/>
                  </a:lnTo>
                  <a:lnTo>
                    <a:pt x="45" y="28"/>
                  </a:lnTo>
                  <a:lnTo>
                    <a:pt x="54" y="21"/>
                  </a:lnTo>
                  <a:lnTo>
                    <a:pt x="64" y="15"/>
                  </a:lnTo>
                  <a:lnTo>
                    <a:pt x="75" y="9"/>
                  </a:lnTo>
                  <a:lnTo>
                    <a:pt x="87" y="5"/>
                  </a:lnTo>
                  <a:lnTo>
                    <a:pt x="98" y="2"/>
                  </a:lnTo>
                  <a:lnTo>
                    <a:pt x="110" y="1"/>
                  </a:lnTo>
                  <a:lnTo>
                    <a:pt x="123" y="0"/>
                  </a:lnTo>
                  <a:lnTo>
                    <a:pt x="123" y="0"/>
                  </a:lnTo>
                  <a:lnTo>
                    <a:pt x="134" y="1"/>
                  </a:lnTo>
                  <a:lnTo>
                    <a:pt x="147" y="2"/>
                  </a:lnTo>
                  <a:lnTo>
                    <a:pt x="160" y="5"/>
                  </a:lnTo>
                  <a:lnTo>
                    <a:pt x="171" y="9"/>
                  </a:lnTo>
                  <a:lnTo>
                    <a:pt x="181" y="15"/>
                  </a:lnTo>
                  <a:lnTo>
                    <a:pt x="190" y="21"/>
                  </a:lnTo>
                  <a:lnTo>
                    <a:pt x="200" y="28"/>
                  </a:lnTo>
                  <a:lnTo>
                    <a:pt x="209" y="36"/>
                  </a:lnTo>
                  <a:lnTo>
                    <a:pt x="217" y="44"/>
                  </a:lnTo>
                  <a:lnTo>
                    <a:pt x="224" y="54"/>
                  </a:lnTo>
                  <a:lnTo>
                    <a:pt x="230" y="64"/>
                  </a:lnTo>
                  <a:lnTo>
                    <a:pt x="235" y="75"/>
                  </a:lnTo>
                  <a:lnTo>
                    <a:pt x="239" y="86"/>
                  </a:lnTo>
                  <a:lnTo>
                    <a:pt x="242" y="98"/>
                  </a:lnTo>
                  <a:lnTo>
                    <a:pt x="245" y="110"/>
                  </a:lnTo>
                  <a:lnTo>
                    <a:pt x="245" y="123"/>
                  </a:lnTo>
                  <a:lnTo>
                    <a:pt x="245" y="123"/>
                  </a:lnTo>
                  <a:lnTo>
                    <a:pt x="245" y="136"/>
                  </a:lnTo>
                  <a:lnTo>
                    <a:pt x="242" y="147"/>
                  </a:lnTo>
                  <a:lnTo>
                    <a:pt x="239" y="159"/>
                  </a:lnTo>
                  <a:lnTo>
                    <a:pt x="235" y="171"/>
                  </a:lnTo>
                  <a:lnTo>
                    <a:pt x="230" y="180"/>
                  </a:lnTo>
                  <a:lnTo>
                    <a:pt x="224" y="192"/>
                  </a:lnTo>
                  <a:lnTo>
                    <a:pt x="217" y="200"/>
                  </a:lnTo>
                  <a:lnTo>
                    <a:pt x="209" y="210"/>
                  </a:lnTo>
                  <a:lnTo>
                    <a:pt x="200" y="217"/>
                  </a:lnTo>
                  <a:lnTo>
                    <a:pt x="190" y="224"/>
                  </a:lnTo>
                  <a:lnTo>
                    <a:pt x="181" y="231"/>
                  </a:lnTo>
                  <a:lnTo>
                    <a:pt x="171" y="235"/>
                  </a:lnTo>
                  <a:lnTo>
                    <a:pt x="160" y="239"/>
                  </a:lnTo>
                  <a:lnTo>
                    <a:pt x="147" y="242"/>
                  </a:lnTo>
                  <a:lnTo>
                    <a:pt x="134" y="245"/>
                  </a:lnTo>
                  <a:lnTo>
                    <a:pt x="123" y="245"/>
                  </a:lnTo>
                  <a:lnTo>
                    <a:pt x="123" y="245"/>
                  </a:lnTo>
                  <a:lnTo>
                    <a:pt x="110" y="245"/>
                  </a:lnTo>
                  <a:lnTo>
                    <a:pt x="98" y="242"/>
                  </a:lnTo>
                  <a:lnTo>
                    <a:pt x="87" y="239"/>
                  </a:lnTo>
                  <a:lnTo>
                    <a:pt x="75" y="235"/>
                  </a:lnTo>
                  <a:lnTo>
                    <a:pt x="64" y="231"/>
                  </a:lnTo>
                  <a:lnTo>
                    <a:pt x="54" y="224"/>
                  </a:lnTo>
                  <a:lnTo>
                    <a:pt x="45" y="217"/>
                  </a:lnTo>
                  <a:lnTo>
                    <a:pt x="36" y="210"/>
                  </a:lnTo>
                  <a:lnTo>
                    <a:pt x="28" y="200"/>
                  </a:lnTo>
                  <a:lnTo>
                    <a:pt x="21" y="192"/>
                  </a:lnTo>
                  <a:lnTo>
                    <a:pt x="15" y="180"/>
                  </a:lnTo>
                  <a:lnTo>
                    <a:pt x="10" y="171"/>
                  </a:lnTo>
                  <a:lnTo>
                    <a:pt x="5" y="159"/>
                  </a:lnTo>
                  <a:lnTo>
                    <a:pt x="3" y="147"/>
                  </a:lnTo>
                  <a:lnTo>
                    <a:pt x="1" y="136"/>
                  </a:lnTo>
                  <a:lnTo>
                    <a:pt x="0" y="123"/>
                  </a:lnTo>
                  <a:close/>
                </a:path>
              </a:pathLst>
            </a:custGeom>
            <a:solidFill>
              <a:srgbClr val="75C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1DA2BA11-6325-49B9-89DD-826592966639}"/>
                </a:ext>
              </a:extLst>
            </p:cNvPr>
            <p:cNvSpPr>
              <a:spLocks/>
            </p:cNvSpPr>
            <p:nvPr/>
          </p:nvSpPr>
          <p:spPr bwMode="auto">
            <a:xfrm>
              <a:off x="4873" y="1937"/>
              <a:ext cx="123" cy="122"/>
            </a:xfrm>
            <a:custGeom>
              <a:avLst/>
              <a:gdLst>
                <a:gd name="T0" fmla="*/ 0 w 245"/>
                <a:gd name="T1" fmla="*/ 123 h 245"/>
                <a:gd name="T2" fmla="*/ 3 w 245"/>
                <a:gd name="T3" fmla="*/ 98 h 245"/>
                <a:gd name="T4" fmla="*/ 10 w 245"/>
                <a:gd name="T5" fmla="*/ 75 h 245"/>
                <a:gd name="T6" fmla="*/ 21 w 245"/>
                <a:gd name="T7" fmla="*/ 54 h 245"/>
                <a:gd name="T8" fmla="*/ 36 w 245"/>
                <a:gd name="T9" fmla="*/ 36 h 245"/>
                <a:gd name="T10" fmla="*/ 54 w 245"/>
                <a:gd name="T11" fmla="*/ 21 h 245"/>
                <a:gd name="T12" fmla="*/ 75 w 245"/>
                <a:gd name="T13" fmla="*/ 9 h 245"/>
                <a:gd name="T14" fmla="*/ 98 w 245"/>
                <a:gd name="T15" fmla="*/ 2 h 245"/>
                <a:gd name="T16" fmla="*/ 123 w 245"/>
                <a:gd name="T17" fmla="*/ 0 h 245"/>
                <a:gd name="T18" fmla="*/ 134 w 245"/>
                <a:gd name="T19" fmla="*/ 1 h 245"/>
                <a:gd name="T20" fmla="*/ 160 w 245"/>
                <a:gd name="T21" fmla="*/ 5 h 245"/>
                <a:gd name="T22" fmla="*/ 181 w 245"/>
                <a:gd name="T23" fmla="*/ 15 h 245"/>
                <a:gd name="T24" fmla="*/ 200 w 245"/>
                <a:gd name="T25" fmla="*/ 28 h 245"/>
                <a:gd name="T26" fmla="*/ 217 w 245"/>
                <a:gd name="T27" fmla="*/ 44 h 245"/>
                <a:gd name="T28" fmla="*/ 230 w 245"/>
                <a:gd name="T29" fmla="*/ 64 h 245"/>
                <a:gd name="T30" fmla="*/ 239 w 245"/>
                <a:gd name="T31" fmla="*/ 86 h 245"/>
                <a:gd name="T32" fmla="*/ 245 w 245"/>
                <a:gd name="T33" fmla="*/ 110 h 245"/>
                <a:gd name="T34" fmla="*/ 245 w 245"/>
                <a:gd name="T35" fmla="*/ 123 h 245"/>
                <a:gd name="T36" fmla="*/ 242 w 245"/>
                <a:gd name="T37" fmla="*/ 147 h 245"/>
                <a:gd name="T38" fmla="*/ 235 w 245"/>
                <a:gd name="T39" fmla="*/ 171 h 245"/>
                <a:gd name="T40" fmla="*/ 224 w 245"/>
                <a:gd name="T41" fmla="*/ 192 h 245"/>
                <a:gd name="T42" fmla="*/ 209 w 245"/>
                <a:gd name="T43" fmla="*/ 210 h 245"/>
                <a:gd name="T44" fmla="*/ 190 w 245"/>
                <a:gd name="T45" fmla="*/ 224 h 245"/>
                <a:gd name="T46" fmla="*/ 171 w 245"/>
                <a:gd name="T47" fmla="*/ 235 h 245"/>
                <a:gd name="T48" fmla="*/ 147 w 245"/>
                <a:gd name="T49" fmla="*/ 242 h 245"/>
                <a:gd name="T50" fmla="*/ 123 w 245"/>
                <a:gd name="T51" fmla="*/ 245 h 245"/>
                <a:gd name="T52" fmla="*/ 110 w 245"/>
                <a:gd name="T53" fmla="*/ 245 h 245"/>
                <a:gd name="T54" fmla="*/ 87 w 245"/>
                <a:gd name="T55" fmla="*/ 239 h 245"/>
                <a:gd name="T56" fmla="*/ 64 w 245"/>
                <a:gd name="T57" fmla="*/ 231 h 245"/>
                <a:gd name="T58" fmla="*/ 45 w 245"/>
                <a:gd name="T59" fmla="*/ 217 h 245"/>
                <a:gd name="T60" fmla="*/ 28 w 245"/>
                <a:gd name="T61" fmla="*/ 200 h 245"/>
                <a:gd name="T62" fmla="*/ 15 w 245"/>
                <a:gd name="T63" fmla="*/ 180 h 245"/>
                <a:gd name="T64" fmla="*/ 5 w 245"/>
                <a:gd name="T65" fmla="*/ 159 h 245"/>
                <a:gd name="T66" fmla="*/ 1 w 245"/>
                <a:gd name="T67" fmla="*/ 1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5" h="245">
                  <a:moveTo>
                    <a:pt x="0" y="123"/>
                  </a:moveTo>
                  <a:lnTo>
                    <a:pt x="0" y="123"/>
                  </a:lnTo>
                  <a:lnTo>
                    <a:pt x="1" y="110"/>
                  </a:lnTo>
                  <a:lnTo>
                    <a:pt x="3" y="98"/>
                  </a:lnTo>
                  <a:lnTo>
                    <a:pt x="5" y="86"/>
                  </a:lnTo>
                  <a:lnTo>
                    <a:pt x="10" y="75"/>
                  </a:lnTo>
                  <a:lnTo>
                    <a:pt x="15" y="64"/>
                  </a:lnTo>
                  <a:lnTo>
                    <a:pt x="21" y="54"/>
                  </a:lnTo>
                  <a:lnTo>
                    <a:pt x="28" y="44"/>
                  </a:lnTo>
                  <a:lnTo>
                    <a:pt x="36" y="36"/>
                  </a:lnTo>
                  <a:lnTo>
                    <a:pt x="45" y="28"/>
                  </a:lnTo>
                  <a:lnTo>
                    <a:pt x="54" y="21"/>
                  </a:lnTo>
                  <a:lnTo>
                    <a:pt x="64" y="15"/>
                  </a:lnTo>
                  <a:lnTo>
                    <a:pt x="75" y="9"/>
                  </a:lnTo>
                  <a:lnTo>
                    <a:pt x="87" y="5"/>
                  </a:lnTo>
                  <a:lnTo>
                    <a:pt x="98" y="2"/>
                  </a:lnTo>
                  <a:lnTo>
                    <a:pt x="110" y="1"/>
                  </a:lnTo>
                  <a:lnTo>
                    <a:pt x="123" y="0"/>
                  </a:lnTo>
                  <a:lnTo>
                    <a:pt x="123" y="0"/>
                  </a:lnTo>
                  <a:lnTo>
                    <a:pt x="134" y="1"/>
                  </a:lnTo>
                  <a:lnTo>
                    <a:pt x="147" y="2"/>
                  </a:lnTo>
                  <a:lnTo>
                    <a:pt x="160" y="5"/>
                  </a:lnTo>
                  <a:lnTo>
                    <a:pt x="171" y="9"/>
                  </a:lnTo>
                  <a:lnTo>
                    <a:pt x="181" y="15"/>
                  </a:lnTo>
                  <a:lnTo>
                    <a:pt x="190" y="21"/>
                  </a:lnTo>
                  <a:lnTo>
                    <a:pt x="200" y="28"/>
                  </a:lnTo>
                  <a:lnTo>
                    <a:pt x="209" y="36"/>
                  </a:lnTo>
                  <a:lnTo>
                    <a:pt x="217" y="44"/>
                  </a:lnTo>
                  <a:lnTo>
                    <a:pt x="224" y="54"/>
                  </a:lnTo>
                  <a:lnTo>
                    <a:pt x="230" y="64"/>
                  </a:lnTo>
                  <a:lnTo>
                    <a:pt x="235" y="75"/>
                  </a:lnTo>
                  <a:lnTo>
                    <a:pt x="239" y="86"/>
                  </a:lnTo>
                  <a:lnTo>
                    <a:pt x="242" y="98"/>
                  </a:lnTo>
                  <a:lnTo>
                    <a:pt x="245" y="110"/>
                  </a:lnTo>
                  <a:lnTo>
                    <a:pt x="245" y="123"/>
                  </a:lnTo>
                  <a:lnTo>
                    <a:pt x="245" y="123"/>
                  </a:lnTo>
                  <a:lnTo>
                    <a:pt x="245" y="136"/>
                  </a:lnTo>
                  <a:lnTo>
                    <a:pt x="242" y="147"/>
                  </a:lnTo>
                  <a:lnTo>
                    <a:pt x="239" y="159"/>
                  </a:lnTo>
                  <a:lnTo>
                    <a:pt x="235" y="171"/>
                  </a:lnTo>
                  <a:lnTo>
                    <a:pt x="230" y="180"/>
                  </a:lnTo>
                  <a:lnTo>
                    <a:pt x="224" y="192"/>
                  </a:lnTo>
                  <a:lnTo>
                    <a:pt x="217" y="200"/>
                  </a:lnTo>
                  <a:lnTo>
                    <a:pt x="209" y="210"/>
                  </a:lnTo>
                  <a:lnTo>
                    <a:pt x="200" y="217"/>
                  </a:lnTo>
                  <a:lnTo>
                    <a:pt x="190" y="224"/>
                  </a:lnTo>
                  <a:lnTo>
                    <a:pt x="181" y="231"/>
                  </a:lnTo>
                  <a:lnTo>
                    <a:pt x="171" y="235"/>
                  </a:lnTo>
                  <a:lnTo>
                    <a:pt x="160" y="239"/>
                  </a:lnTo>
                  <a:lnTo>
                    <a:pt x="147" y="242"/>
                  </a:lnTo>
                  <a:lnTo>
                    <a:pt x="134" y="245"/>
                  </a:lnTo>
                  <a:lnTo>
                    <a:pt x="123" y="245"/>
                  </a:lnTo>
                  <a:lnTo>
                    <a:pt x="123" y="245"/>
                  </a:lnTo>
                  <a:lnTo>
                    <a:pt x="110" y="245"/>
                  </a:lnTo>
                  <a:lnTo>
                    <a:pt x="98" y="242"/>
                  </a:lnTo>
                  <a:lnTo>
                    <a:pt x="87" y="239"/>
                  </a:lnTo>
                  <a:lnTo>
                    <a:pt x="75" y="235"/>
                  </a:lnTo>
                  <a:lnTo>
                    <a:pt x="64" y="231"/>
                  </a:lnTo>
                  <a:lnTo>
                    <a:pt x="54" y="224"/>
                  </a:lnTo>
                  <a:lnTo>
                    <a:pt x="45" y="217"/>
                  </a:lnTo>
                  <a:lnTo>
                    <a:pt x="36" y="210"/>
                  </a:lnTo>
                  <a:lnTo>
                    <a:pt x="28" y="200"/>
                  </a:lnTo>
                  <a:lnTo>
                    <a:pt x="21" y="192"/>
                  </a:lnTo>
                  <a:lnTo>
                    <a:pt x="15" y="180"/>
                  </a:lnTo>
                  <a:lnTo>
                    <a:pt x="10" y="171"/>
                  </a:lnTo>
                  <a:lnTo>
                    <a:pt x="5" y="159"/>
                  </a:lnTo>
                  <a:lnTo>
                    <a:pt x="3" y="147"/>
                  </a:lnTo>
                  <a:lnTo>
                    <a:pt x="1" y="136"/>
                  </a:lnTo>
                  <a:lnTo>
                    <a:pt x="0" y="1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a:extLst>
                <a:ext uri="{FF2B5EF4-FFF2-40B4-BE49-F238E27FC236}">
                  <a16:creationId xmlns:a16="http://schemas.microsoft.com/office/drawing/2014/main" id="{B8D19C4B-87F6-4DE4-B80A-60C56A827C83}"/>
                </a:ext>
              </a:extLst>
            </p:cNvPr>
            <p:cNvSpPr>
              <a:spLocks noEditPoints="1"/>
            </p:cNvSpPr>
            <p:nvPr/>
          </p:nvSpPr>
          <p:spPr bwMode="auto">
            <a:xfrm>
              <a:off x="2684" y="1629"/>
              <a:ext cx="351" cy="423"/>
            </a:xfrm>
            <a:custGeom>
              <a:avLst/>
              <a:gdLst>
                <a:gd name="T0" fmla="*/ 702 w 702"/>
                <a:gd name="T1" fmla="*/ 405 h 847"/>
                <a:gd name="T2" fmla="*/ 699 w 702"/>
                <a:gd name="T3" fmla="*/ 457 h 847"/>
                <a:gd name="T4" fmla="*/ 695 w 702"/>
                <a:gd name="T5" fmla="*/ 506 h 847"/>
                <a:gd name="T6" fmla="*/ 685 w 702"/>
                <a:gd name="T7" fmla="*/ 551 h 847"/>
                <a:gd name="T8" fmla="*/ 673 w 702"/>
                <a:gd name="T9" fmla="*/ 593 h 847"/>
                <a:gd name="T10" fmla="*/ 657 w 702"/>
                <a:gd name="T11" fmla="*/ 632 h 847"/>
                <a:gd name="T12" fmla="*/ 638 w 702"/>
                <a:gd name="T13" fmla="*/ 669 h 847"/>
                <a:gd name="T14" fmla="*/ 614 w 702"/>
                <a:gd name="T15" fmla="*/ 702 h 847"/>
                <a:gd name="T16" fmla="*/ 587 w 702"/>
                <a:gd name="T17" fmla="*/ 733 h 847"/>
                <a:gd name="T18" fmla="*/ 573 w 702"/>
                <a:gd name="T19" fmla="*/ 746 h 847"/>
                <a:gd name="T20" fmla="*/ 542 w 702"/>
                <a:gd name="T21" fmla="*/ 771 h 847"/>
                <a:gd name="T22" fmla="*/ 507 w 702"/>
                <a:gd name="T23" fmla="*/ 794 h 847"/>
                <a:gd name="T24" fmla="*/ 471 w 702"/>
                <a:gd name="T25" fmla="*/ 812 h 847"/>
                <a:gd name="T26" fmla="*/ 430 w 702"/>
                <a:gd name="T27" fmla="*/ 826 h 847"/>
                <a:gd name="T28" fmla="*/ 387 w 702"/>
                <a:gd name="T29" fmla="*/ 836 h 847"/>
                <a:gd name="T30" fmla="*/ 342 w 702"/>
                <a:gd name="T31" fmla="*/ 844 h 847"/>
                <a:gd name="T32" fmla="*/ 293 w 702"/>
                <a:gd name="T33" fmla="*/ 847 h 847"/>
                <a:gd name="T34" fmla="*/ 0 w 702"/>
                <a:gd name="T35" fmla="*/ 847 h 847"/>
                <a:gd name="T36" fmla="*/ 286 w 702"/>
                <a:gd name="T37" fmla="*/ 0 h 847"/>
                <a:gd name="T38" fmla="*/ 334 w 702"/>
                <a:gd name="T39" fmla="*/ 2 h 847"/>
                <a:gd name="T40" fmla="*/ 380 w 702"/>
                <a:gd name="T41" fmla="*/ 6 h 847"/>
                <a:gd name="T42" fmla="*/ 422 w 702"/>
                <a:gd name="T43" fmla="*/ 14 h 847"/>
                <a:gd name="T44" fmla="*/ 463 w 702"/>
                <a:gd name="T45" fmla="*/ 25 h 847"/>
                <a:gd name="T46" fmla="*/ 499 w 702"/>
                <a:gd name="T47" fmla="*/ 41 h 847"/>
                <a:gd name="T48" fmla="*/ 534 w 702"/>
                <a:gd name="T49" fmla="*/ 59 h 847"/>
                <a:gd name="T50" fmla="*/ 565 w 702"/>
                <a:gd name="T51" fmla="*/ 80 h 847"/>
                <a:gd name="T52" fmla="*/ 593 w 702"/>
                <a:gd name="T53" fmla="*/ 104 h 847"/>
                <a:gd name="T54" fmla="*/ 607 w 702"/>
                <a:gd name="T55" fmla="*/ 118 h 847"/>
                <a:gd name="T56" fmla="*/ 631 w 702"/>
                <a:gd name="T57" fmla="*/ 146 h 847"/>
                <a:gd name="T58" fmla="*/ 650 w 702"/>
                <a:gd name="T59" fmla="*/ 178 h 847"/>
                <a:gd name="T60" fmla="*/ 667 w 702"/>
                <a:gd name="T61" fmla="*/ 213 h 847"/>
                <a:gd name="T62" fmla="*/ 681 w 702"/>
                <a:gd name="T63" fmla="*/ 251 h 847"/>
                <a:gd name="T64" fmla="*/ 691 w 702"/>
                <a:gd name="T65" fmla="*/ 292 h 847"/>
                <a:gd name="T66" fmla="*/ 698 w 702"/>
                <a:gd name="T67" fmla="*/ 335 h 847"/>
                <a:gd name="T68" fmla="*/ 701 w 702"/>
                <a:gd name="T69" fmla="*/ 381 h 847"/>
                <a:gd name="T70" fmla="*/ 470 w 702"/>
                <a:gd name="T71" fmla="*/ 414 h 847"/>
                <a:gd name="T72" fmla="*/ 470 w 702"/>
                <a:gd name="T73" fmla="*/ 386 h 847"/>
                <a:gd name="T74" fmla="*/ 464 w 702"/>
                <a:gd name="T75" fmla="*/ 335 h 847"/>
                <a:gd name="T76" fmla="*/ 453 w 702"/>
                <a:gd name="T77" fmla="*/ 292 h 847"/>
                <a:gd name="T78" fmla="*/ 436 w 702"/>
                <a:gd name="T79" fmla="*/ 257 h 847"/>
                <a:gd name="T80" fmla="*/ 425 w 702"/>
                <a:gd name="T81" fmla="*/ 241 h 847"/>
                <a:gd name="T82" fmla="*/ 399 w 702"/>
                <a:gd name="T83" fmla="*/ 216 h 847"/>
                <a:gd name="T84" fmla="*/ 369 w 702"/>
                <a:gd name="T85" fmla="*/ 199 h 847"/>
                <a:gd name="T86" fmla="*/ 331 w 702"/>
                <a:gd name="T87" fmla="*/ 188 h 847"/>
                <a:gd name="T88" fmla="*/ 289 w 702"/>
                <a:gd name="T89" fmla="*/ 185 h 847"/>
                <a:gd name="T90" fmla="*/ 223 w 702"/>
                <a:gd name="T91" fmla="*/ 659 h 847"/>
                <a:gd name="T92" fmla="*/ 273 w 702"/>
                <a:gd name="T93" fmla="*/ 659 h 847"/>
                <a:gd name="T94" fmla="*/ 321 w 702"/>
                <a:gd name="T95" fmla="*/ 656 h 847"/>
                <a:gd name="T96" fmla="*/ 362 w 702"/>
                <a:gd name="T97" fmla="*/ 645 h 847"/>
                <a:gd name="T98" fmla="*/ 395 w 702"/>
                <a:gd name="T99" fmla="*/ 625 h 847"/>
                <a:gd name="T100" fmla="*/ 422 w 702"/>
                <a:gd name="T101" fmla="*/ 599 h 847"/>
                <a:gd name="T102" fmla="*/ 433 w 702"/>
                <a:gd name="T103" fmla="*/ 583 h 847"/>
                <a:gd name="T104" fmla="*/ 451 w 702"/>
                <a:gd name="T105" fmla="*/ 544 h 847"/>
                <a:gd name="T106" fmla="*/ 463 w 702"/>
                <a:gd name="T107" fmla="*/ 498 h 847"/>
                <a:gd name="T108" fmla="*/ 470 w 702"/>
                <a:gd name="T109" fmla="*/ 44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847">
                  <a:moveTo>
                    <a:pt x="702" y="405"/>
                  </a:moveTo>
                  <a:lnTo>
                    <a:pt x="702" y="405"/>
                  </a:lnTo>
                  <a:lnTo>
                    <a:pt x="701" y="432"/>
                  </a:lnTo>
                  <a:lnTo>
                    <a:pt x="699" y="457"/>
                  </a:lnTo>
                  <a:lnTo>
                    <a:pt x="698" y="482"/>
                  </a:lnTo>
                  <a:lnTo>
                    <a:pt x="695" y="506"/>
                  </a:lnTo>
                  <a:lnTo>
                    <a:pt x="691" y="529"/>
                  </a:lnTo>
                  <a:lnTo>
                    <a:pt x="685" y="551"/>
                  </a:lnTo>
                  <a:lnTo>
                    <a:pt x="680" y="572"/>
                  </a:lnTo>
                  <a:lnTo>
                    <a:pt x="673" y="593"/>
                  </a:lnTo>
                  <a:lnTo>
                    <a:pt x="666" y="614"/>
                  </a:lnTo>
                  <a:lnTo>
                    <a:pt x="657" y="632"/>
                  </a:lnTo>
                  <a:lnTo>
                    <a:pt x="648" y="652"/>
                  </a:lnTo>
                  <a:lnTo>
                    <a:pt x="638" y="669"/>
                  </a:lnTo>
                  <a:lnTo>
                    <a:pt x="627" y="686"/>
                  </a:lnTo>
                  <a:lnTo>
                    <a:pt x="614" y="702"/>
                  </a:lnTo>
                  <a:lnTo>
                    <a:pt x="601" y="718"/>
                  </a:lnTo>
                  <a:lnTo>
                    <a:pt x="587" y="733"/>
                  </a:lnTo>
                  <a:lnTo>
                    <a:pt x="587" y="733"/>
                  </a:lnTo>
                  <a:lnTo>
                    <a:pt x="573" y="746"/>
                  </a:lnTo>
                  <a:lnTo>
                    <a:pt x="558" y="760"/>
                  </a:lnTo>
                  <a:lnTo>
                    <a:pt x="542" y="771"/>
                  </a:lnTo>
                  <a:lnTo>
                    <a:pt x="526" y="782"/>
                  </a:lnTo>
                  <a:lnTo>
                    <a:pt x="507" y="794"/>
                  </a:lnTo>
                  <a:lnTo>
                    <a:pt x="489" y="802"/>
                  </a:lnTo>
                  <a:lnTo>
                    <a:pt x="471" y="812"/>
                  </a:lnTo>
                  <a:lnTo>
                    <a:pt x="450" y="819"/>
                  </a:lnTo>
                  <a:lnTo>
                    <a:pt x="430" y="826"/>
                  </a:lnTo>
                  <a:lnTo>
                    <a:pt x="409" y="831"/>
                  </a:lnTo>
                  <a:lnTo>
                    <a:pt x="387" y="836"/>
                  </a:lnTo>
                  <a:lnTo>
                    <a:pt x="364" y="840"/>
                  </a:lnTo>
                  <a:lnTo>
                    <a:pt x="342" y="844"/>
                  </a:lnTo>
                  <a:lnTo>
                    <a:pt x="317" y="845"/>
                  </a:lnTo>
                  <a:lnTo>
                    <a:pt x="293" y="847"/>
                  </a:lnTo>
                  <a:lnTo>
                    <a:pt x="268" y="847"/>
                  </a:lnTo>
                  <a:lnTo>
                    <a:pt x="0" y="847"/>
                  </a:lnTo>
                  <a:lnTo>
                    <a:pt x="0" y="0"/>
                  </a:lnTo>
                  <a:lnTo>
                    <a:pt x="286" y="0"/>
                  </a:lnTo>
                  <a:lnTo>
                    <a:pt x="286" y="0"/>
                  </a:lnTo>
                  <a:lnTo>
                    <a:pt x="334" y="2"/>
                  </a:lnTo>
                  <a:lnTo>
                    <a:pt x="357" y="3"/>
                  </a:lnTo>
                  <a:lnTo>
                    <a:pt x="380" y="6"/>
                  </a:lnTo>
                  <a:lnTo>
                    <a:pt x="401" y="10"/>
                  </a:lnTo>
                  <a:lnTo>
                    <a:pt x="422" y="14"/>
                  </a:lnTo>
                  <a:lnTo>
                    <a:pt x="443" y="20"/>
                  </a:lnTo>
                  <a:lnTo>
                    <a:pt x="463" y="25"/>
                  </a:lnTo>
                  <a:lnTo>
                    <a:pt x="481" y="32"/>
                  </a:lnTo>
                  <a:lnTo>
                    <a:pt x="499" y="41"/>
                  </a:lnTo>
                  <a:lnTo>
                    <a:pt x="517" y="49"/>
                  </a:lnTo>
                  <a:lnTo>
                    <a:pt x="534" y="59"/>
                  </a:lnTo>
                  <a:lnTo>
                    <a:pt x="549" y="69"/>
                  </a:lnTo>
                  <a:lnTo>
                    <a:pt x="565" y="80"/>
                  </a:lnTo>
                  <a:lnTo>
                    <a:pt x="580" y="91"/>
                  </a:lnTo>
                  <a:lnTo>
                    <a:pt x="593" y="104"/>
                  </a:lnTo>
                  <a:lnTo>
                    <a:pt x="593" y="104"/>
                  </a:lnTo>
                  <a:lnTo>
                    <a:pt x="607" y="118"/>
                  </a:lnTo>
                  <a:lnTo>
                    <a:pt x="620" y="132"/>
                  </a:lnTo>
                  <a:lnTo>
                    <a:pt x="631" y="146"/>
                  </a:lnTo>
                  <a:lnTo>
                    <a:pt x="641" y="163"/>
                  </a:lnTo>
                  <a:lnTo>
                    <a:pt x="650" y="178"/>
                  </a:lnTo>
                  <a:lnTo>
                    <a:pt x="660" y="195"/>
                  </a:lnTo>
                  <a:lnTo>
                    <a:pt x="667" y="213"/>
                  </a:lnTo>
                  <a:lnTo>
                    <a:pt x="674" y="231"/>
                  </a:lnTo>
                  <a:lnTo>
                    <a:pt x="681" y="251"/>
                  </a:lnTo>
                  <a:lnTo>
                    <a:pt x="687" y="271"/>
                  </a:lnTo>
                  <a:lnTo>
                    <a:pt x="691" y="292"/>
                  </a:lnTo>
                  <a:lnTo>
                    <a:pt x="695" y="313"/>
                  </a:lnTo>
                  <a:lnTo>
                    <a:pt x="698" y="335"/>
                  </a:lnTo>
                  <a:lnTo>
                    <a:pt x="701" y="358"/>
                  </a:lnTo>
                  <a:lnTo>
                    <a:pt x="701" y="381"/>
                  </a:lnTo>
                  <a:lnTo>
                    <a:pt x="702" y="405"/>
                  </a:lnTo>
                  <a:close/>
                  <a:moveTo>
                    <a:pt x="470" y="414"/>
                  </a:moveTo>
                  <a:lnTo>
                    <a:pt x="470" y="414"/>
                  </a:lnTo>
                  <a:lnTo>
                    <a:pt x="470" y="386"/>
                  </a:lnTo>
                  <a:lnTo>
                    <a:pt x="467" y="359"/>
                  </a:lnTo>
                  <a:lnTo>
                    <a:pt x="464" y="335"/>
                  </a:lnTo>
                  <a:lnTo>
                    <a:pt x="458" y="313"/>
                  </a:lnTo>
                  <a:lnTo>
                    <a:pt x="453" y="292"/>
                  </a:lnTo>
                  <a:lnTo>
                    <a:pt x="444" y="274"/>
                  </a:lnTo>
                  <a:lnTo>
                    <a:pt x="436" y="257"/>
                  </a:lnTo>
                  <a:lnTo>
                    <a:pt x="425" y="241"/>
                  </a:lnTo>
                  <a:lnTo>
                    <a:pt x="425" y="241"/>
                  </a:lnTo>
                  <a:lnTo>
                    <a:pt x="413" y="227"/>
                  </a:lnTo>
                  <a:lnTo>
                    <a:pt x="399" y="216"/>
                  </a:lnTo>
                  <a:lnTo>
                    <a:pt x="384" y="206"/>
                  </a:lnTo>
                  <a:lnTo>
                    <a:pt x="369" y="199"/>
                  </a:lnTo>
                  <a:lnTo>
                    <a:pt x="350" y="192"/>
                  </a:lnTo>
                  <a:lnTo>
                    <a:pt x="331" y="188"/>
                  </a:lnTo>
                  <a:lnTo>
                    <a:pt x="310" y="185"/>
                  </a:lnTo>
                  <a:lnTo>
                    <a:pt x="289" y="185"/>
                  </a:lnTo>
                  <a:lnTo>
                    <a:pt x="223" y="185"/>
                  </a:lnTo>
                  <a:lnTo>
                    <a:pt x="223" y="659"/>
                  </a:lnTo>
                  <a:lnTo>
                    <a:pt x="273" y="659"/>
                  </a:lnTo>
                  <a:lnTo>
                    <a:pt x="273" y="659"/>
                  </a:lnTo>
                  <a:lnTo>
                    <a:pt x="297" y="659"/>
                  </a:lnTo>
                  <a:lnTo>
                    <a:pt x="321" y="656"/>
                  </a:lnTo>
                  <a:lnTo>
                    <a:pt x="342" y="651"/>
                  </a:lnTo>
                  <a:lnTo>
                    <a:pt x="362" y="645"/>
                  </a:lnTo>
                  <a:lnTo>
                    <a:pt x="378" y="637"/>
                  </a:lnTo>
                  <a:lnTo>
                    <a:pt x="395" y="625"/>
                  </a:lnTo>
                  <a:lnTo>
                    <a:pt x="409" y="613"/>
                  </a:lnTo>
                  <a:lnTo>
                    <a:pt x="422" y="599"/>
                  </a:lnTo>
                  <a:lnTo>
                    <a:pt x="422" y="599"/>
                  </a:lnTo>
                  <a:lnTo>
                    <a:pt x="433" y="583"/>
                  </a:lnTo>
                  <a:lnTo>
                    <a:pt x="443" y="565"/>
                  </a:lnTo>
                  <a:lnTo>
                    <a:pt x="451" y="544"/>
                  </a:lnTo>
                  <a:lnTo>
                    <a:pt x="458" y="523"/>
                  </a:lnTo>
                  <a:lnTo>
                    <a:pt x="463" y="498"/>
                  </a:lnTo>
                  <a:lnTo>
                    <a:pt x="467" y="473"/>
                  </a:lnTo>
                  <a:lnTo>
                    <a:pt x="470" y="445"/>
                  </a:lnTo>
                  <a:lnTo>
                    <a:pt x="470" y="4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a:extLst>
                <a:ext uri="{FF2B5EF4-FFF2-40B4-BE49-F238E27FC236}">
                  <a16:creationId xmlns:a16="http://schemas.microsoft.com/office/drawing/2014/main" id="{D271B9C2-AEE1-4EEF-92B2-3239CA5012F9}"/>
                </a:ext>
              </a:extLst>
            </p:cNvPr>
            <p:cNvSpPr>
              <a:spLocks/>
            </p:cNvSpPr>
            <p:nvPr/>
          </p:nvSpPr>
          <p:spPr bwMode="auto">
            <a:xfrm>
              <a:off x="2684" y="1629"/>
              <a:ext cx="351" cy="423"/>
            </a:xfrm>
            <a:custGeom>
              <a:avLst/>
              <a:gdLst>
                <a:gd name="T0" fmla="*/ 702 w 702"/>
                <a:gd name="T1" fmla="*/ 405 h 847"/>
                <a:gd name="T2" fmla="*/ 699 w 702"/>
                <a:gd name="T3" fmla="*/ 457 h 847"/>
                <a:gd name="T4" fmla="*/ 695 w 702"/>
                <a:gd name="T5" fmla="*/ 506 h 847"/>
                <a:gd name="T6" fmla="*/ 685 w 702"/>
                <a:gd name="T7" fmla="*/ 551 h 847"/>
                <a:gd name="T8" fmla="*/ 673 w 702"/>
                <a:gd name="T9" fmla="*/ 593 h 847"/>
                <a:gd name="T10" fmla="*/ 657 w 702"/>
                <a:gd name="T11" fmla="*/ 632 h 847"/>
                <a:gd name="T12" fmla="*/ 638 w 702"/>
                <a:gd name="T13" fmla="*/ 669 h 847"/>
                <a:gd name="T14" fmla="*/ 614 w 702"/>
                <a:gd name="T15" fmla="*/ 702 h 847"/>
                <a:gd name="T16" fmla="*/ 587 w 702"/>
                <a:gd name="T17" fmla="*/ 733 h 847"/>
                <a:gd name="T18" fmla="*/ 573 w 702"/>
                <a:gd name="T19" fmla="*/ 746 h 847"/>
                <a:gd name="T20" fmla="*/ 542 w 702"/>
                <a:gd name="T21" fmla="*/ 771 h 847"/>
                <a:gd name="T22" fmla="*/ 507 w 702"/>
                <a:gd name="T23" fmla="*/ 794 h 847"/>
                <a:gd name="T24" fmla="*/ 471 w 702"/>
                <a:gd name="T25" fmla="*/ 812 h 847"/>
                <a:gd name="T26" fmla="*/ 430 w 702"/>
                <a:gd name="T27" fmla="*/ 826 h 847"/>
                <a:gd name="T28" fmla="*/ 387 w 702"/>
                <a:gd name="T29" fmla="*/ 836 h 847"/>
                <a:gd name="T30" fmla="*/ 342 w 702"/>
                <a:gd name="T31" fmla="*/ 844 h 847"/>
                <a:gd name="T32" fmla="*/ 293 w 702"/>
                <a:gd name="T33" fmla="*/ 847 h 847"/>
                <a:gd name="T34" fmla="*/ 0 w 702"/>
                <a:gd name="T35" fmla="*/ 847 h 847"/>
                <a:gd name="T36" fmla="*/ 286 w 702"/>
                <a:gd name="T37" fmla="*/ 0 h 847"/>
                <a:gd name="T38" fmla="*/ 334 w 702"/>
                <a:gd name="T39" fmla="*/ 2 h 847"/>
                <a:gd name="T40" fmla="*/ 380 w 702"/>
                <a:gd name="T41" fmla="*/ 6 h 847"/>
                <a:gd name="T42" fmla="*/ 422 w 702"/>
                <a:gd name="T43" fmla="*/ 14 h 847"/>
                <a:gd name="T44" fmla="*/ 463 w 702"/>
                <a:gd name="T45" fmla="*/ 25 h 847"/>
                <a:gd name="T46" fmla="*/ 499 w 702"/>
                <a:gd name="T47" fmla="*/ 41 h 847"/>
                <a:gd name="T48" fmla="*/ 534 w 702"/>
                <a:gd name="T49" fmla="*/ 59 h 847"/>
                <a:gd name="T50" fmla="*/ 565 w 702"/>
                <a:gd name="T51" fmla="*/ 80 h 847"/>
                <a:gd name="T52" fmla="*/ 593 w 702"/>
                <a:gd name="T53" fmla="*/ 104 h 847"/>
                <a:gd name="T54" fmla="*/ 607 w 702"/>
                <a:gd name="T55" fmla="*/ 118 h 847"/>
                <a:gd name="T56" fmla="*/ 631 w 702"/>
                <a:gd name="T57" fmla="*/ 146 h 847"/>
                <a:gd name="T58" fmla="*/ 650 w 702"/>
                <a:gd name="T59" fmla="*/ 178 h 847"/>
                <a:gd name="T60" fmla="*/ 667 w 702"/>
                <a:gd name="T61" fmla="*/ 213 h 847"/>
                <a:gd name="T62" fmla="*/ 681 w 702"/>
                <a:gd name="T63" fmla="*/ 251 h 847"/>
                <a:gd name="T64" fmla="*/ 691 w 702"/>
                <a:gd name="T65" fmla="*/ 292 h 847"/>
                <a:gd name="T66" fmla="*/ 698 w 702"/>
                <a:gd name="T67" fmla="*/ 335 h 847"/>
                <a:gd name="T68" fmla="*/ 701 w 702"/>
                <a:gd name="T69" fmla="*/ 381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2" h="847">
                  <a:moveTo>
                    <a:pt x="702" y="405"/>
                  </a:moveTo>
                  <a:lnTo>
                    <a:pt x="702" y="405"/>
                  </a:lnTo>
                  <a:lnTo>
                    <a:pt x="701" y="432"/>
                  </a:lnTo>
                  <a:lnTo>
                    <a:pt x="699" y="457"/>
                  </a:lnTo>
                  <a:lnTo>
                    <a:pt x="698" y="482"/>
                  </a:lnTo>
                  <a:lnTo>
                    <a:pt x="695" y="506"/>
                  </a:lnTo>
                  <a:lnTo>
                    <a:pt x="691" y="529"/>
                  </a:lnTo>
                  <a:lnTo>
                    <a:pt x="685" y="551"/>
                  </a:lnTo>
                  <a:lnTo>
                    <a:pt x="680" y="572"/>
                  </a:lnTo>
                  <a:lnTo>
                    <a:pt x="673" y="593"/>
                  </a:lnTo>
                  <a:lnTo>
                    <a:pt x="666" y="614"/>
                  </a:lnTo>
                  <a:lnTo>
                    <a:pt x="657" y="632"/>
                  </a:lnTo>
                  <a:lnTo>
                    <a:pt x="648" y="652"/>
                  </a:lnTo>
                  <a:lnTo>
                    <a:pt x="638" y="669"/>
                  </a:lnTo>
                  <a:lnTo>
                    <a:pt x="627" y="686"/>
                  </a:lnTo>
                  <a:lnTo>
                    <a:pt x="614" y="702"/>
                  </a:lnTo>
                  <a:lnTo>
                    <a:pt x="601" y="718"/>
                  </a:lnTo>
                  <a:lnTo>
                    <a:pt x="587" y="733"/>
                  </a:lnTo>
                  <a:lnTo>
                    <a:pt x="587" y="733"/>
                  </a:lnTo>
                  <a:lnTo>
                    <a:pt x="573" y="746"/>
                  </a:lnTo>
                  <a:lnTo>
                    <a:pt x="558" y="760"/>
                  </a:lnTo>
                  <a:lnTo>
                    <a:pt x="542" y="771"/>
                  </a:lnTo>
                  <a:lnTo>
                    <a:pt x="526" y="782"/>
                  </a:lnTo>
                  <a:lnTo>
                    <a:pt x="507" y="794"/>
                  </a:lnTo>
                  <a:lnTo>
                    <a:pt x="489" y="802"/>
                  </a:lnTo>
                  <a:lnTo>
                    <a:pt x="471" y="812"/>
                  </a:lnTo>
                  <a:lnTo>
                    <a:pt x="450" y="819"/>
                  </a:lnTo>
                  <a:lnTo>
                    <a:pt x="430" y="826"/>
                  </a:lnTo>
                  <a:lnTo>
                    <a:pt x="409" y="831"/>
                  </a:lnTo>
                  <a:lnTo>
                    <a:pt x="387" y="836"/>
                  </a:lnTo>
                  <a:lnTo>
                    <a:pt x="364" y="840"/>
                  </a:lnTo>
                  <a:lnTo>
                    <a:pt x="342" y="844"/>
                  </a:lnTo>
                  <a:lnTo>
                    <a:pt x="317" y="845"/>
                  </a:lnTo>
                  <a:lnTo>
                    <a:pt x="293" y="847"/>
                  </a:lnTo>
                  <a:lnTo>
                    <a:pt x="268" y="847"/>
                  </a:lnTo>
                  <a:lnTo>
                    <a:pt x="0" y="847"/>
                  </a:lnTo>
                  <a:lnTo>
                    <a:pt x="0" y="0"/>
                  </a:lnTo>
                  <a:lnTo>
                    <a:pt x="286" y="0"/>
                  </a:lnTo>
                  <a:lnTo>
                    <a:pt x="286" y="0"/>
                  </a:lnTo>
                  <a:lnTo>
                    <a:pt x="334" y="2"/>
                  </a:lnTo>
                  <a:lnTo>
                    <a:pt x="357" y="3"/>
                  </a:lnTo>
                  <a:lnTo>
                    <a:pt x="380" y="6"/>
                  </a:lnTo>
                  <a:lnTo>
                    <a:pt x="401" y="10"/>
                  </a:lnTo>
                  <a:lnTo>
                    <a:pt x="422" y="14"/>
                  </a:lnTo>
                  <a:lnTo>
                    <a:pt x="443" y="20"/>
                  </a:lnTo>
                  <a:lnTo>
                    <a:pt x="463" y="25"/>
                  </a:lnTo>
                  <a:lnTo>
                    <a:pt x="481" y="32"/>
                  </a:lnTo>
                  <a:lnTo>
                    <a:pt x="499" y="41"/>
                  </a:lnTo>
                  <a:lnTo>
                    <a:pt x="517" y="49"/>
                  </a:lnTo>
                  <a:lnTo>
                    <a:pt x="534" y="59"/>
                  </a:lnTo>
                  <a:lnTo>
                    <a:pt x="549" y="69"/>
                  </a:lnTo>
                  <a:lnTo>
                    <a:pt x="565" y="80"/>
                  </a:lnTo>
                  <a:lnTo>
                    <a:pt x="580" y="91"/>
                  </a:lnTo>
                  <a:lnTo>
                    <a:pt x="593" y="104"/>
                  </a:lnTo>
                  <a:lnTo>
                    <a:pt x="593" y="104"/>
                  </a:lnTo>
                  <a:lnTo>
                    <a:pt x="607" y="118"/>
                  </a:lnTo>
                  <a:lnTo>
                    <a:pt x="620" y="132"/>
                  </a:lnTo>
                  <a:lnTo>
                    <a:pt x="631" y="146"/>
                  </a:lnTo>
                  <a:lnTo>
                    <a:pt x="641" y="163"/>
                  </a:lnTo>
                  <a:lnTo>
                    <a:pt x="650" y="178"/>
                  </a:lnTo>
                  <a:lnTo>
                    <a:pt x="660" y="195"/>
                  </a:lnTo>
                  <a:lnTo>
                    <a:pt x="667" y="213"/>
                  </a:lnTo>
                  <a:lnTo>
                    <a:pt x="674" y="231"/>
                  </a:lnTo>
                  <a:lnTo>
                    <a:pt x="681" y="251"/>
                  </a:lnTo>
                  <a:lnTo>
                    <a:pt x="687" y="271"/>
                  </a:lnTo>
                  <a:lnTo>
                    <a:pt x="691" y="292"/>
                  </a:lnTo>
                  <a:lnTo>
                    <a:pt x="695" y="313"/>
                  </a:lnTo>
                  <a:lnTo>
                    <a:pt x="698" y="335"/>
                  </a:lnTo>
                  <a:lnTo>
                    <a:pt x="701" y="358"/>
                  </a:lnTo>
                  <a:lnTo>
                    <a:pt x="701" y="381"/>
                  </a:lnTo>
                  <a:lnTo>
                    <a:pt x="702" y="40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a:extLst>
                <a:ext uri="{FF2B5EF4-FFF2-40B4-BE49-F238E27FC236}">
                  <a16:creationId xmlns:a16="http://schemas.microsoft.com/office/drawing/2014/main" id="{6DCD483E-88D8-402F-A1D0-64CDB1EF1DC7}"/>
                </a:ext>
              </a:extLst>
            </p:cNvPr>
            <p:cNvSpPr>
              <a:spLocks/>
            </p:cNvSpPr>
            <p:nvPr/>
          </p:nvSpPr>
          <p:spPr bwMode="auto">
            <a:xfrm>
              <a:off x="2795" y="1722"/>
              <a:ext cx="124" cy="237"/>
            </a:xfrm>
            <a:custGeom>
              <a:avLst/>
              <a:gdLst>
                <a:gd name="T0" fmla="*/ 247 w 247"/>
                <a:gd name="T1" fmla="*/ 229 h 474"/>
                <a:gd name="T2" fmla="*/ 247 w 247"/>
                <a:gd name="T3" fmla="*/ 229 h 474"/>
                <a:gd name="T4" fmla="*/ 247 w 247"/>
                <a:gd name="T5" fmla="*/ 201 h 474"/>
                <a:gd name="T6" fmla="*/ 244 w 247"/>
                <a:gd name="T7" fmla="*/ 174 h 474"/>
                <a:gd name="T8" fmla="*/ 241 w 247"/>
                <a:gd name="T9" fmla="*/ 150 h 474"/>
                <a:gd name="T10" fmla="*/ 235 w 247"/>
                <a:gd name="T11" fmla="*/ 128 h 474"/>
                <a:gd name="T12" fmla="*/ 230 w 247"/>
                <a:gd name="T13" fmla="*/ 107 h 474"/>
                <a:gd name="T14" fmla="*/ 221 w 247"/>
                <a:gd name="T15" fmla="*/ 89 h 474"/>
                <a:gd name="T16" fmla="*/ 213 w 247"/>
                <a:gd name="T17" fmla="*/ 72 h 474"/>
                <a:gd name="T18" fmla="*/ 202 w 247"/>
                <a:gd name="T19" fmla="*/ 56 h 474"/>
                <a:gd name="T20" fmla="*/ 202 w 247"/>
                <a:gd name="T21" fmla="*/ 56 h 474"/>
                <a:gd name="T22" fmla="*/ 190 w 247"/>
                <a:gd name="T23" fmla="*/ 42 h 474"/>
                <a:gd name="T24" fmla="*/ 176 w 247"/>
                <a:gd name="T25" fmla="*/ 31 h 474"/>
                <a:gd name="T26" fmla="*/ 161 w 247"/>
                <a:gd name="T27" fmla="*/ 21 h 474"/>
                <a:gd name="T28" fmla="*/ 146 w 247"/>
                <a:gd name="T29" fmla="*/ 14 h 474"/>
                <a:gd name="T30" fmla="*/ 127 w 247"/>
                <a:gd name="T31" fmla="*/ 7 h 474"/>
                <a:gd name="T32" fmla="*/ 108 w 247"/>
                <a:gd name="T33" fmla="*/ 3 h 474"/>
                <a:gd name="T34" fmla="*/ 87 w 247"/>
                <a:gd name="T35" fmla="*/ 0 h 474"/>
                <a:gd name="T36" fmla="*/ 66 w 247"/>
                <a:gd name="T37" fmla="*/ 0 h 474"/>
                <a:gd name="T38" fmla="*/ 0 w 247"/>
                <a:gd name="T39" fmla="*/ 0 h 474"/>
                <a:gd name="T40" fmla="*/ 0 w 247"/>
                <a:gd name="T41" fmla="*/ 474 h 474"/>
                <a:gd name="T42" fmla="*/ 50 w 247"/>
                <a:gd name="T43" fmla="*/ 474 h 474"/>
                <a:gd name="T44" fmla="*/ 50 w 247"/>
                <a:gd name="T45" fmla="*/ 474 h 474"/>
                <a:gd name="T46" fmla="*/ 74 w 247"/>
                <a:gd name="T47" fmla="*/ 474 h 474"/>
                <a:gd name="T48" fmla="*/ 98 w 247"/>
                <a:gd name="T49" fmla="*/ 471 h 474"/>
                <a:gd name="T50" fmla="*/ 119 w 247"/>
                <a:gd name="T51" fmla="*/ 466 h 474"/>
                <a:gd name="T52" fmla="*/ 139 w 247"/>
                <a:gd name="T53" fmla="*/ 460 h 474"/>
                <a:gd name="T54" fmla="*/ 155 w 247"/>
                <a:gd name="T55" fmla="*/ 452 h 474"/>
                <a:gd name="T56" fmla="*/ 172 w 247"/>
                <a:gd name="T57" fmla="*/ 440 h 474"/>
                <a:gd name="T58" fmla="*/ 186 w 247"/>
                <a:gd name="T59" fmla="*/ 428 h 474"/>
                <a:gd name="T60" fmla="*/ 199 w 247"/>
                <a:gd name="T61" fmla="*/ 414 h 474"/>
                <a:gd name="T62" fmla="*/ 199 w 247"/>
                <a:gd name="T63" fmla="*/ 414 h 474"/>
                <a:gd name="T64" fmla="*/ 210 w 247"/>
                <a:gd name="T65" fmla="*/ 398 h 474"/>
                <a:gd name="T66" fmla="*/ 220 w 247"/>
                <a:gd name="T67" fmla="*/ 380 h 474"/>
                <a:gd name="T68" fmla="*/ 228 w 247"/>
                <a:gd name="T69" fmla="*/ 359 h 474"/>
                <a:gd name="T70" fmla="*/ 235 w 247"/>
                <a:gd name="T71" fmla="*/ 338 h 474"/>
                <a:gd name="T72" fmla="*/ 240 w 247"/>
                <a:gd name="T73" fmla="*/ 313 h 474"/>
                <a:gd name="T74" fmla="*/ 244 w 247"/>
                <a:gd name="T75" fmla="*/ 288 h 474"/>
                <a:gd name="T76" fmla="*/ 247 w 247"/>
                <a:gd name="T77" fmla="*/ 260 h 474"/>
                <a:gd name="T78" fmla="*/ 247 w 247"/>
                <a:gd name="T79" fmla="*/ 229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7" h="474">
                  <a:moveTo>
                    <a:pt x="247" y="229"/>
                  </a:moveTo>
                  <a:lnTo>
                    <a:pt x="247" y="229"/>
                  </a:lnTo>
                  <a:lnTo>
                    <a:pt x="247" y="201"/>
                  </a:lnTo>
                  <a:lnTo>
                    <a:pt x="244" y="174"/>
                  </a:lnTo>
                  <a:lnTo>
                    <a:pt x="241" y="150"/>
                  </a:lnTo>
                  <a:lnTo>
                    <a:pt x="235" y="128"/>
                  </a:lnTo>
                  <a:lnTo>
                    <a:pt x="230" y="107"/>
                  </a:lnTo>
                  <a:lnTo>
                    <a:pt x="221" y="89"/>
                  </a:lnTo>
                  <a:lnTo>
                    <a:pt x="213" y="72"/>
                  </a:lnTo>
                  <a:lnTo>
                    <a:pt x="202" y="56"/>
                  </a:lnTo>
                  <a:lnTo>
                    <a:pt x="202" y="56"/>
                  </a:lnTo>
                  <a:lnTo>
                    <a:pt x="190" y="42"/>
                  </a:lnTo>
                  <a:lnTo>
                    <a:pt x="176" y="31"/>
                  </a:lnTo>
                  <a:lnTo>
                    <a:pt x="161" y="21"/>
                  </a:lnTo>
                  <a:lnTo>
                    <a:pt x="146" y="14"/>
                  </a:lnTo>
                  <a:lnTo>
                    <a:pt x="127" y="7"/>
                  </a:lnTo>
                  <a:lnTo>
                    <a:pt x="108" y="3"/>
                  </a:lnTo>
                  <a:lnTo>
                    <a:pt x="87" y="0"/>
                  </a:lnTo>
                  <a:lnTo>
                    <a:pt x="66" y="0"/>
                  </a:lnTo>
                  <a:lnTo>
                    <a:pt x="0" y="0"/>
                  </a:lnTo>
                  <a:lnTo>
                    <a:pt x="0" y="474"/>
                  </a:lnTo>
                  <a:lnTo>
                    <a:pt x="50" y="474"/>
                  </a:lnTo>
                  <a:lnTo>
                    <a:pt x="50" y="474"/>
                  </a:lnTo>
                  <a:lnTo>
                    <a:pt x="74" y="474"/>
                  </a:lnTo>
                  <a:lnTo>
                    <a:pt x="98" y="471"/>
                  </a:lnTo>
                  <a:lnTo>
                    <a:pt x="119" y="466"/>
                  </a:lnTo>
                  <a:lnTo>
                    <a:pt x="139" y="460"/>
                  </a:lnTo>
                  <a:lnTo>
                    <a:pt x="155" y="452"/>
                  </a:lnTo>
                  <a:lnTo>
                    <a:pt x="172" y="440"/>
                  </a:lnTo>
                  <a:lnTo>
                    <a:pt x="186" y="428"/>
                  </a:lnTo>
                  <a:lnTo>
                    <a:pt x="199" y="414"/>
                  </a:lnTo>
                  <a:lnTo>
                    <a:pt x="199" y="414"/>
                  </a:lnTo>
                  <a:lnTo>
                    <a:pt x="210" y="398"/>
                  </a:lnTo>
                  <a:lnTo>
                    <a:pt x="220" y="380"/>
                  </a:lnTo>
                  <a:lnTo>
                    <a:pt x="228" y="359"/>
                  </a:lnTo>
                  <a:lnTo>
                    <a:pt x="235" y="338"/>
                  </a:lnTo>
                  <a:lnTo>
                    <a:pt x="240" y="313"/>
                  </a:lnTo>
                  <a:lnTo>
                    <a:pt x="244" y="288"/>
                  </a:lnTo>
                  <a:lnTo>
                    <a:pt x="247" y="260"/>
                  </a:lnTo>
                  <a:lnTo>
                    <a:pt x="247" y="2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10">
              <a:extLst>
                <a:ext uri="{FF2B5EF4-FFF2-40B4-BE49-F238E27FC236}">
                  <a16:creationId xmlns:a16="http://schemas.microsoft.com/office/drawing/2014/main" id="{F9089D85-0558-4A07-9806-402A7F083516}"/>
                </a:ext>
              </a:extLst>
            </p:cNvPr>
            <p:cNvSpPr>
              <a:spLocks noChangeArrowheads="1"/>
            </p:cNvSpPr>
            <p:nvPr/>
          </p:nvSpPr>
          <p:spPr bwMode="auto">
            <a:xfrm>
              <a:off x="3406" y="1627"/>
              <a:ext cx="106" cy="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1">
              <a:extLst>
                <a:ext uri="{FF2B5EF4-FFF2-40B4-BE49-F238E27FC236}">
                  <a16:creationId xmlns:a16="http://schemas.microsoft.com/office/drawing/2014/main" id="{3F0539FF-AE51-4741-8F9E-A99D35B3A0B5}"/>
                </a:ext>
              </a:extLst>
            </p:cNvPr>
            <p:cNvSpPr>
              <a:spLocks noEditPoints="1"/>
            </p:cNvSpPr>
            <p:nvPr/>
          </p:nvSpPr>
          <p:spPr bwMode="auto">
            <a:xfrm>
              <a:off x="3554" y="1731"/>
              <a:ext cx="308" cy="327"/>
            </a:xfrm>
            <a:custGeom>
              <a:avLst/>
              <a:gdLst>
                <a:gd name="T0" fmla="*/ 616 w 617"/>
                <a:gd name="T1" fmla="*/ 365 h 655"/>
                <a:gd name="T2" fmla="*/ 596 w 617"/>
                <a:gd name="T3" fmla="*/ 464 h 655"/>
                <a:gd name="T4" fmla="*/ 554 w 617"/>
                <a:gd name="T5" fmla="*/ 546 h 655"/>
                <a:gd name="T6" fmla="*/ 525 w 617"/>
                <a:gd name="T7" fmla="*/ 579 h 655"/>
                <a:gd name="T8" fmla="*/ 491 w 617"/>
                <a:gd name="T9" fmla="*/ 607 h 655"/>
                <a:gd name="T10" fmla="*/ 438 w 617"/>
                <a:gd name="T11" fmla="*/ 634 h 655"/>
                <a:gd name="T12" fmla="*/ 342 w 617"/>
                <a:gd name="T13" fmla="*/ 654 h 655"/>
                <a:gd name="T14" fmla="*/ 272 w 617"/>
                <a:gd name="T15" fmla="*/ 654 h 655"/>
                <a:gd name="T16" fmla="*/ 181 w 617"/>
                <a:gd name="T17" fmla="*/ 634 h 655"/>
                <a:gd name="T18" fmla="*/ 106 w 617"/>
                <a:gd name="T19" fmla="*/ 588 h 655"/>
                <a:gd name="T20" fmla="*/ 64 w 617"/>
                <a:gd name="T21" fmla="*/ 544 h 655"/>
                <a:gd name="T22" fmla="*/ 21 w 617"/>
                <a:gd name="T23" fmla="*/ 463 h 655"/>
                <a:gd name="T24" fmla="*/ 2 w 617"/>
                <a:gd name="T25" fmla="*/ 363 h 655"/>
                <a:gd name="T26" fmla="*/ 2 w 617"/>
                <a:gd name="T27" fmla="*/ 289 h 655"/>
                <a:gd name="T28" fmla="*/ 21 w 617"/>
                <a:gd name="T29" fmla="*/ 190 h 655"/>
                <a:gd name="T30" fmla="*/ 64 w 617"/>
                <a:gd name="T31" fmla="*/ 110 h 655"/>
                <a:gd name="T32" fmla="*/ 103 w 617"/>
                <a:gd name="T33" fmla="*/ 66 h 655"/>
                <a:gd name="T34" fmla="*/ 152 w 617"/>
                <a:gd name="T35" fmla="*/ 34 h 655"/>
                <a:gd name="T36" fmla="*/ 242 w 617"/>
                <a:gd name="T37" fmla="*/ 6 h 655"/>
                <a:gd name="T38" fmla="*/ 310 w 617"/>
                <a:gd name="T39" fmla="*/ 0 h 655"/>
                <a:gd name="T40" fmla="*/ 376 w 617"/>
                <a:gd name="T41" fmla="*/ 6 h 655"/>
                <a:gd name="T42" fmla="*/ 435 w 617"/>
                <a:gd name="T43" fmla="*/ 23 h 655"/>
                <a:gd name="T44" fmla="*/ 471 w 617"/>
                <a:gd name="T45" fmla="*/ 41 h 655"/>
                <a:gd name="T46" fmla="*/ 519 w 617"/>
                <a:gd name="T47" fmla="*/ 75 h 655"/>
                <a:gd name="T48" fmla="*/ 558 w 617"/>
                <a:gd name="T49" fmla="*/ 120 h 655"/>
                <a:gd name="T50" fmla="*/ 579 w 617"/>
                <a:gd name="T51" fmla="*/ 155 h 655"/>
                <a:gd name="T52" fmla="*/ 602 w 617"/>
                <a:gd name="T53" fmla="*/ 214 h 655"/>
                <a:gd name="T54" fmla="*/ 614 w 617"/>
                <a:gd name="T55" fmla="*/ 279 h 655"/>
                <a:gd name="T56" fmla="*/ 216 w 617"/>
                <a:gd name="T57" fmla="*/ 327 h 655"/>
                <a:gd name="T58" fmla="*/ 222 w 617"/>
                <a:gd name="T59" fmla="*/ 399 h 655"/>
                <a:gd name="T60" fmla="*/ 233 w 617"/>
                <a:gd name="T61" fmla="*/ 439 h 655"/>
                <a:gd name="T62" fmla="*/ 244 w 617"/>
                <a:gd name="T63" fmla="*/ 462 h 655"/>
                <a:gd name="T64" fmla="*/ 267 w 617"/>
                <a:gd name="T65" fmla="*/ 483 h 655"/>
                <a:gd name="T66" fmla="*/ 298 w 617"/>
                <a:gd name="T67" fmla="*/ 494 h 655"/>
                <a:gd name="T68" fmla="*/ 321 w 617"/>
                <a:gd name="T69" fmla="*/ 494 h 655"/>
                <a:gd name="T70" fmla="*/ 352 w 617"/>
                <a:gd name="T71" fmla="*/ 483 h 655"/>
                <a:gd name="T72" fmla="*/ 373 w 617"/>
                <a:gd name="T73" fmla="*/ 462 h 655"/>
                <a:gd name="T74" fmla="*/ 384 w 617"/>
                <a:gd name="T75" fmla="*/ 439 h 655"/>
                <a:gd name="T76" fmla="*/ 394 w 617"/>
                <a:gd name="T77" fmla="*/ 399 h 655"/>
                <a:gd name="T78" fmla="*/ 400 w 617"/>
                <a:gd name="T79" fmla="*/ 327 h 655"/>
                <a:gd name="T80" fmla="*/ 391 w 617"/>
                <a:gd name="T81" fmla="*/ 242 h 655"/>
                <a:gd name="T82" fmla="*/ 379 w 617"/>
                <a:gd name="T83" fmla="*/ 205 h 655"/>
                <a:gd name="T84" fmla="*/ 368 w 617"/>
                <a:gd name="T85" fmla="*/ 187 h 655"/>
                <a:gd name="T86" fmla="*/ 342 w 617"/>
                <a:gd name="T87" fmla="*/ 169 h 655"/>
                <a:gd name="T88" fmla="*/ 309 w 617"/>
                <a:gd name="T89" fmla="*/ 163 h 655"/>
                <a:gd name="T90" fmla="*/ 285 w 617"/>
                <a:gd name="T91" fmla="*/ 166 h 655"/>
                <a:gd name="T92" fmla="*/ 258 w 617"/>
                <a:gd name="T93" fmla="*/ 180 h 655"/>
                <a:gd name="T94" fmla="*/ 239 w 617"/>
                <a:gd name="T95" fmla="*/ 205 h 655"/>
                <a:gd name="T96" fmla="*/ 229 w 617"/>
                <a:gd name="T97" fmla="*/ 228 h 655"/>
                <a:gd name="T98" fmla="*/ 218 w 617"/>
                <a:gd name="T99" fmla="*/ 28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7" h="655">
                  <a:moveTo>
                    <a:pt x="617" y="327"/>
                  </a:moveTo>
                  <a:lnTo>
                    <a:pt x="617" y="327"/>
                  </a:lnTo>
                  <a:lnTo>
                    <a:pt x="616" y="365"/>
                  </a:lnTo>
                  <a:lnTo>
                    <a:pt x="612" y="400"/>
                  </a:lnTo>
                  <a:lnTo>
                    <a:pt x="606" y="434"/>
                  </a:lnTo>
                  <a:lnTo>
                    <a:pt x="596" y="464"/>
                  </a:lnTo>
                  <a:lnTo>
                    <a:pt x="585" y="494"/>
                  </a:lnTo>
                  <a:lnTo>
                    <a:pt x="571" y="522"/>
                  </a:lnTo>
                  <a:lnTo>
                    <a:pt x="554" y="546"/>
                  </a:lnTo>
                  <a:lnTo>
                    <a:pt x="536" y="570"/>
                  </a:lnTo>
                  <a:lnTo>
                    <a:pt x="536" y="570"/>
                  </a:lnTo>
                  <a:lnTo>
                    <a:pt x="525" y="579"/>
                  </a:lnTo>
                  <a:lnTo>
                    <a:pt x="513" y="589"/>
                  </a:lnTo>
                  <a:lnTo>
                    <a:pt x="502" y="599"/>
                  </a:lnTo>
                  <a:lnTo>
                    <a:pt x="491" y="607"/>
                  </a:lnTo>
                  <a:lnTo>
                    <a:pt x="478" y="614"/>
                  </a:lnTo>
                  <a:lnTo>
                    <a:pt x="464" y="621"/>
                  </a:lnTo>
                  <a:lnTo>
                    <a:pt x="438" y="634"/>
                  </a:lnTo>
                  <a:lnTo>
                    <a:pt x="408" y="644"/>
                  </a:lnTo>
                  <a:lnTo>
                    <a:pt x="376" y="651"/>
                  </a:lnTo>
                  <a:lnTo>
                    <a:pt x="342" y="654"/>
                  </a:lnTo>
                  <a:lnTo>
                    <a:pt x="307" y="655"/>
                  </a:lnTo>
                  <a:lnTo>
                    <a:pt x="307" y="655"/>
                  </a:lnTo>
                  <a:lnTo>
                    <a:pt x="272" y="654"/>
                  </a:lnTo>
                  <a:lnTo>
                    <a:pt x="240" y="649"/>
                  </a:lnTo>
                  <a:lnTo>
                    <a:pt x="209" y="644"/>
                  </a:lnTo>
                  <a:lnTo>
                    <a:pt x="181" y="634"/>
                  </a:lnTo>
                  <a:lnTo>
                    <a:pt x="155" y="621"/>
                  </a:lnTo>
                  <a:lnTo>
                    <a:pt x="129" y="606"/>
                  </a:lnTo>
                  <a:lnTo>
                    <a:pt x="106" y="588"/>
                  </a:lnTo>
                  <a:lnTo>
                    <a:pt x="83" y="567"/>
                  </a:lnTo>
                  <a:lnTo>
                    <a:pt x="83" y="567"/>
                  </a:lnTo>
                  <a:lnTo>
                    <a:pt x="64" y="544"/>
                  </a:lnTo>
                  <a:lnTo>
                    <a:pt x="47" y="519"/>
                  </a:lnTo>
                  <a:lnTo>
                    <a:pt x="33" y="491"/>
                  </a:lnTo>
                  <a:lnTo>
                    <a:pt x="21" y="463"/>
                  </a:lnTo>
                  <a:lnTo>
                    <a:pt x="12" y="432"/>
                  </a:lnTo>
                  <a:lnTo>
                    <a:pt x="6" y="399"/>
                  </a:lnTo>
                  <a:lnTo>
                    <a:pt x="2" y="363"/>
                  </a:lnTo>
                  <a:lnTo>
                    <a:pt x="0" y="327"/>
                  </a:lnTo>
                  <a:lnTo>
                    <a:pt x="0" y="327"/>
                  </a:lnTo>
                  <a:lnTo>
                    <a:pt x="2" y="289"/>
                  </a:lnTo>
                  <a:lnTo>
                    <a:pt x="6" y="254"/>
                  </a:lnTo>
                  <a:lnTo>
                    <a:pt x="12" y="221"/>
                  </a:lnTo>
                  <a:lnTo>
                    <a:pt x="21" y="190"/>
                  </a:lnTo>
                  <a:lnTo>
                    <a:pt x="33" y="160"/>
                  </a:lnTo>
                  <a:lnTo>
                    <a:pt x="47" y="134"/>
                  </a:lnTo>
                  <a:lnTo>
                    <a:pt x="64" y="110"/>
                  </a:lnTo>
                  <a:lnTo>
                    <a:pt x="82" y="87"/>
                  </a:lnTo>
                  <a:lnTo>
                    <a:pt x="82" y="87"/>
                  </a:lnTo>
                  <a:lnTo>
                    <a:pt x="103" y="66"/>
                  </a:lnTo>
                  <a:lnTo>
                    <a:pt x="115" y="58"/>
                  </a:lnTo>
                  <a:lnTo>
                    <a:pt x="127" y="50"/>
                  </a:lnTo>
                  <a:lnTo>
                    <a:pt x="152" y="34"/>
                  </a:lnTo>
                  <a:lnTo>
                    <a:pt x="180" y="23"/>
                  </a:lnTo>
                  <a:lnTo>
                    <a:pt x="209" y="13"/>
                  </a:lnTo>
                  <a:lnTo>
                    <a:pt x="242" y="6"/>
                  </a:lnTo>
                  <a:lnTo>
                    <a:pt x="275" y="2"/>
                  </a:lnTo>
                  <a:lnTo>
                    <a:pt x="310" y="0"/>
                  </a:lnTo>
                  <a:lnTo>
                    <a:pt x="310" y="0"/>
                  </a:lnTo>
                  <a:lnTo>
                    <a:pt x="333" y="2"/>
                  </a:lnTo>
                  <a:lnTo>
                    <a:pt x="355" y="3"/>
                  </a:lnTo>
                  <a:lnTo>
                    <a:pt x="376" y="6"/>
                  </a:lnTo>
                  <a:lnTo>
                    <a:pt x="396" y="12"/>
                  </a:lnTo>
                  <a:lnTo>
                    <a:pt x="415" y="17"/>
                  </a:lnTo>
                  <a:lnTo>
                    <a:pt x="435" y="23"/>
                  </a:lnTo>
                  <a:lnTo>
                    <a:pt x="453" y="31"/>
                  </a:lnTo>
                  <a:lnTo>
                    <a:pt x="471" y="41"/>
                  </a:lnTo>
                  <a:lnTo>
                    <a:pt x="471" y="41"/>
                  </a:lnTo>
                  <a:lnTo>
                    <a:pt x="488" y="51"/>
                  </a:lnTo>
                  <a:lnTo>
                    <a:pt x="504" y="62"/>
                  </a:lnTo>
                  <a:lnTo>
                    <a:pt x="519" y="75"/>
                  </a:lnTo>
                  <a:lnTo>
                    <a:pt x="533" y="89"/>
                  </a:lnTo>
                  <a:lnTo>
                    <a:pt x="546" y="104"/>
                  </a:lnTo>
                  <a:lnTo>
                    <a:pt x="558" y="120"/>
                  </a:lnTo>
                  <a:lnTo>
                    <a:pt x="569" y="136"/>
                  </a:lnTo>
                  <a:lnTo>
                    <a:pt x="579" y="155"/>
                  </a:lnTo>
                  <a:lnTo>
                    <a:pt x="579" y="155"/>
                  </a:lnTo>
                  <a:lnTo>
                    <a:pt x="588" y="173"/>
                  </a:lnTo>
                  <a:lnTo>
                    <a:pt x="596" y="192"/>
                  </a:lnTo>
                  <a:lnTo>
                    <a:pt x="602" y="214"/>
                  </a:lnTo>
                  <a:lnTo>
                    <a:pt x="607" y="235"/>
                  </a:lnTo>
                  <a:lnTo>
                    <a:pt x="612" y="257"/>
                  </a:lnTo>
                  <a:lnTo>
                    <a:pt x="614" y="279"/>
                  </a:lnTo>
                  <a:lnTo>
                    <a:pt x="616" y="303"/>
                  </a:lnTo>
                  <a:lnTo>
                    <a:pt x="617" y="327"/>
                  </a:lnTo>
                  <a:close/>
                  <a:moveTo>
                    <a:pt x="216" y="327"/>
                  </a:moveTo>
                  <a:lnTo>
                    <a:pt x="216" y="327"/>
                  </a:lnTo>
                  <a:lnTo>
                    <a:pt x="218" y="365"/>
                  </a:lnTo>
                  <a:lnTo>
                    <a:pt x="222" y="399"/>
                  </a:lnTo>
                  <a:lnTo>
                    <a:pt x="225" y="414"/>
                  </a:lnTo>
                  <a:lnTo>
                    <a:pt x="229" y="428"/>
                  </a:lnTo>
                  <a:lnTo>
                    <a:pt x="233" y="439"/>
                  </a:lnTo>
                  <a:lnTo>
                    <a:pt x="239" y="452"/>
                  </a:lnTo>
                  <a:lnTo>
                    <a:pt x="239" y="452"/>
                  </a:lnTo>
                  <a:lnTo>
                    <a:pt x="244" y="462"/>
                  </a:lnTo>
                  <a:lnTo>
                    <a:pt x="250" y="470"/>
                  </a:lnTo>
                  <a:lnTo>
                    <a:pt x="258" y="477"/>
                  </a:lnTo>
                  <a:lnTo>
                    <a:pt x="267" y="483"/>
                  </a:lnTo>
                  <a:lnTo>
                    <a:pt x="277" y="488"/>
                  </a:lnTo>
                  <a:lnTo>
                    <a:pt x="286" y="491"/>
                  </a:lnTo>
                  <a:lnTo>
                    <a:pt x="298" y="494"/>
                  </a:lnTo>
                  <a:lnTo>
                    <a:pt x="309" y="494"/>
                  </a:lnTo>
                  <a:lnTo>
                    <a:pt x="309" y="494"/>
                  </a:lnTo>
                  <a:lnTo>
                    <a:pt x="321" y="494"/>
                  </a:lnTo>
                  <a:lnTo>
                    <a:pt x="333" y="491"/>
                  </a:lnTo>
                  <a:lnTo>
                    <a:pt x="342" y="488"/>
                  </a:lnTo>
                  <a:lnTo>
                    <a:pt x="352" y="483"/>
                  </a:lnTo>
                  <a:lnTo>
                    <a:pt x="361" y="477"/>
                  </a:lnTo>
                  <a:lnTo>
                    <a:pt x="368" y="470"/>
                  </a:lnTo>
                  <a:lnTo>
                    <a:pt x="373" y="462"/>
                  </a:lnTo>
                  <a:lnTo>
                    <a:pt x="379" y="452"/>
                  </a:lnTo>
                  <a:lnTo>
                    <a:pt x="379" y="452"/>
                  </a:lnTo>
                  <a:lnTo>
                    <a:pt x="384" y="439"/>
                  </a:lnTo>
                  <a:lnTo>
                    <a:pt x="389" y="428"/>
                  </a:lnTo>
                  <a:lnTo>
                    <a:pt x="391" y="414"/>
                  </a:lnTo>
                  <a:lnTo>
                    <a:pt x="394" y="399"/>
                  </a:lnTo>
                  <a:lnTo>
                    <a:pt x="398" y="365"/>
                  </a:lnTo>
                  <a:lnTo>
                    <a:pt x="400" y="327"/>
                  </a:lnTo>
                  <a:lnTo>
                    <a:pt x="400" y="327"/>
                  </a:lnTo>
                  <a:lnTo>
                    <a:pt x="398" y="289"/>
                  </a:lnTo>
                  <a:lnTo>
                    <a:pt x="394" y="256"/>
                  </a:lnTo>
                  <a:lnTo>
                    <a:pt x="391" y="242"/>
                  </a:lnTo>
                  <a:lnTo>
                    <a:pt x="389" y="228"/>
                  </a:lnTo>
                  <a:lnTo>
                    <a:pt x="384" y="216"/>
                  </a:lnTo>
                  <a:lnTo>
                    <a:pt x="379" y="205"/>
                  </a:lnTo>
                  <a:lnTo>
                    <a:pt x="379" y="205"/>
                  </a:lnTo>
                  <a:lnTo>
                    <a:pt x="373" y="195"/>
                  </a:lnTo>
                  <a:lnTo>
                    <a:pt x="368" y="187"/>
                  </a:lnTo>
                  <a:lnTo>
                    <a:pt x="359" y="180"/>
                  </a:lnTo>
                  <a:lnTo>
                    <a:pt x="351" y="174"/>
                  </a:lnTo>
                  <a:lnTo>
                    <a:pt x="342" y="169"/>
                  </a:lnTo>
                  <a:lnTo>
                    <a:pt x="331" y="166"/>
                  </a:lnTo>
                  <a:lnTo>
                    <a:pt x="320" y="164"/>
                  </a:lnTo>
                  <a:lnTo>
                    <a:pt x="309" y="163"/>
                  </a:lnTo>
                  <a:lnTo>
                    <a:pt x="309" y="163"/>
                  </a:lnTo>
                  <a:lnTo>
                    <a:pt x="296" y="164"/>
                  </a:lnTo>
                  <a:lnTo>
                    <a:pt x="285" y="166"/>
                  </a:lnTo>
                  <a:lnTo>
                    <a:pt x="275" y="169"/>
                  </a:lnTo>
                  <a:lnTo>
                    <a:pt x="267" y="174"/>
                  </a:lnTo>
                  <a:lnTo>
                    <a:pt x="258" y="180"/>
                  </a:lnTo>
                  <a:lnTo>
                    <a:pt x="250" y="187"/>
                  </a:lnTo>
                  <a:lnTo>
                    <a:pt x="244" y="195"/>
                  </a:lnTo>
                  <a:lnTo>
                    <a:pt x="239" y="205"/>
                  </a:lnTo>
                  <a:lnTo>
                    <a:pt x="239" y="205"/>
                  </a:lnTo>
                  <a:lnTo>
                    <a:pt x="233" y="215"/>
                  </a:lnTo>
                  <a:lnTo>
                    <a:pt x="229" y="228"/>
                  </a:lnTo>
                  <a:lnTo>
                    <a:pt x="225" y="242"/>
                  </a:lnTo>
                  <a:lnTo>
                    <a:pt x="222" y="256"/>
                  </a:lnTo>
                  <a:lnTo>
                    <a:pt x="218" y="289"/>
                  </a:lnTo>
                  <a:lnTo>
                    <a:pt x="216" y="3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
              <a:extLst>
                <a:ext uri="{FF2B5EF4-FFF2-40B4-BE49-F238E27FC236}">
                  <a16:creationId xmlns:a16="http://schemas.microsoft.com/office/drawing/2014/main" id="{61D76DFF-A30F-4C3B-8D78-EED627778DCC}"/>
                </a:ext>
              </a:extLst>
            </p:cNvPr>
            <p:cNvSpPr>
              <a:spLocks/>
            </p:cNvSpPr>
            <p:nvPr/>
          </p:nvSpPr>
          <p:spPr bwMode="auto">
            <a:xfrm>
              <a:off x="3554" y="1731"/>
              <a:ext cx="308" cy="327"/>
            </a:xfrm>
            <a:custGeom>
              <a:avLst/>
              <a:gdLst>
                <a:gd name="T0" fmla="*/ 617 w 617"/>
                <a:gd name="T1" fmla="*/ 327 h 655"/>
                <a:gd name="T2" fmla="*/ 612 w 617"/>
                <a:gd name="T3" fmla="*/ 400 h 655"/>
                <a:gd name="T4" fmla="*/ 596 w 617"/>
                <a:gd name="T5" fmla="*/ 464 h 655"/>
                <a:gd name="T6" fmla="*/ 571 w 617"/>
                <a:gd name="T7" fmla="*/ 522 h 655"/>
                <a:gd name="T8" fmla="*/ 536 w 617"/>
                <a:gd name="T9" fmla="*/ 570 h 655"/>
                <a:gd name="T10" fmla="*/ 525 w 617"/>
                <a:gd name="T11" fmla="*/ 579 h 655"/>
                <a:gd name="T12" fmla="*/ 502 w 617"/>
                <a:gd name="T13" fmla="*/ 599 h 655"/>
                <a:gd name="T14" fmla="*/ 478 w 617"/>
                <a:gd name="T15" fmla="*/ 614 h 655"/>
                <a:gd name="T16" fmla="*/ 438 w 617"/>
                <a:gd name="T17" fmla="*/ 634 h 655"/>
                <a:gd name="T18" fmla="*/ 376 w 617"/>
                <a:gd name="T19" fmla="*/ 651 h 655"/>
                <a:gd name="T20" fmla="*/ 307 w 617"/>
                <a:gd name="T21" fmla="*/ 655 h 655"/>
                <a:gd name="T22" fmla="*/ 272 w 617"/>
                <a:gd name="T23" fmla="*/ 654 h 655"/>
                <a:gd name="T24" fmla="*/ 209 w 617"/>
                <a:gd name="T25" fmla="*/ 644 h 655"/>
                <a:gd name="T26" fmla="*/ 155 w 617"/>
                <a:gd name="T27" fmla="*/ 621 h 655"/>
                <a:gd name="T28" fmla="*/ 106 w 617"/>
                <a:gd name="T29" fmla="*/ 588 h 655"/>
                <a:gd name="T30" fmla="*/ 83 w 617"/>
                <a:gd name="T31" fmla="*/ 567 h 655"/>
                <a:gd name="T32" fmla="*/ 47 w 617"/>
                <a:gd name="T33" fmla="*/ 519 h 655"/>
                <a:gd name="T34" fmla="*/ 21 w 617"/>
                <a:gd name="T35" fmla="*/ 463 h 655"/>
                <a:gd name="T36" fmla="*/ 6 w 617"/>
                <a:gd name="T37" fmla="*/ 399 h 655"/>
                <a:gd name="T38" fmla="*/ 0 w 617"/>
                <a:gd name="T39" fmla="*/ 327 h 655"/>
                <a:gd name="T40" fmla="*/ 2 w 617"/>
                <a:gd name="T41" fmla="*/ 289 h 655"/>
                <a:gd name="T42" fmla="*/ 12 w 617"/>
                <a:gd name="T43" fmla="*/ 221 h 655"/>
                <a:gd name="T44" fmla="*/ 33 w 617"/>
                <a:gd name="T45" fmla="*/ 160 h 655"/>
                <a:gd name="T46" fmla="*/ 64 w 617"/>
                <a:gd name="T47" fmla="*/ 110 h 655"/>
                <a:gd name="T48" fmla="*/ 82 w 617"/>
                <a:gd name="T49" fmla="*/ 87 h 655"/>
                <a:gd name="T50" fmla="*/ 115 w 617"/>
                <a:gd name="T51" fmla="*/ 58 h 655"/>
                <a:gd name="T52" fmla="*/ 152 w 617"/>
                <a:gd name="T53" fmla="*/ 34 h 655"/>
                <a:gd name="T54" fmla="*/ 209 w 617"/>
                <a:gd name="T55" fmla="*/ 13 h 655"/>
                <a:gd name="T56" fmla="*/ 275 w 617"/>
                <a:gd name="T57" fmla="*/ 2 h 655"/>
                <a:gd name="T58" fmla="*/ 310 w 617"/>
                <a:gd name="T59" fmla="*/ 0 h 655"/>
                <a:gd name="T60" fmla="*/ 355 w 617"/>
                <a:gd name="T61" fmla="*/ 3 h 655"/>
                <a:gd name="T62" fmla="*/ 396 w 617"/>
                <a:gd name="T63" fmla="*/ 12 h 655"/>
                <a:gd name="T64" fmla="*/ 435 w 617"/>
                <a:gd name="T65" fmla="*/ 23 h 655"/>
                <a:gd name="T66" fmla="*/ 471 w 617"/>
                <a:gd name="T67" fmla="*/ 41 h 655"/>
                <a:gd name="T68" fmla="*/ 488 w 617"/>
                <a:gd name="T69" fmla="*/ 51 h 655"/>
                <a:gd name="T70" fmla="*/ 519 w 617"/>
                <a:gd name="T71" fmla="*/ 75 h 655"/>
                <a:gd name="T72" fmla="*/ 546 w 617"/>
                <a:gd name="T73" fmla="*/ 104 h 655"/>
                <a:gd name="T74" fmla="*/ 569 w 617"/>
                <a:gd name="T75" fmla="*/ 136 h 655"/>
                <a:gd name="T76" fmla="*/ 579 w 617"/>
                <a:gd name="T77" fmla="*/ 155 h 655"/>
                <a:gd name="T78" fmla="*/ 596 w 617"/>
                <a:gd name="T79" fmla="*/ 192 h 655"/>
                <a:gd name="T80" fmla="*/ 607 w 617"/>
                <a:gd name="T81" fmla="*/ 235 h 655"/>
                <a:gd name="T82" fmla="*/ 614 w 617"/>
                <a:gd name="T83" fmla="*/ 279 h 655"/>
                <a:gd name="T84" fmla="*/ 617 w 617"/>
                <a:gd name="T85" fmla="*/ 32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7" h="655">
                  <a:moveTo>
                    <a:pt x="617" y="327"/>
                  </a:moveTo>
                  <a:lnTo>
                    <a:pt x="617" y="327"/>
                  </a:lnTo>
                  <a:lnTo>
                    <a:pt x="616" y="365"/>
                  </a:lnTo>
                  <a:lnTo>
                    <a:pt x="612" y="400"/>
                  </a:lnTo>
                  <a:lnTo>
                    <a:pt x="606" y="434"/>
                  </a:lnTo>
                  <a:lnTo>
                    <a:pt x="596" y="464"/>
                  </a:lnTo>
                  <a:lnTo>
                    <a:pt x="585" y="494"/>
                  </a:lnTo>
                  <a:lnTo>
                    <a:pt x="571" y="522"/>
                  </a:lnTo>
                  <a:lnTo>
                    <a:pt x="554" y="546"/>
                  </a:lnTo>
                  <a:lnTo>
                    <a:pt x="536" y="570"/>
                  </a:lnTo>
                  <a:lnTo>
                    <a:pt x="536" y="570"/>
                  </a:lnTo>
                  <a:lnTo>
                    <a:pt x="525" y="579"/>
                  </a:lnTo>
                  <a:lnTo>
                    <a:pt x="513" y="589"/>
                  </a:lnTo>
                  <a:lnTo>
                    <a:pt x="502" y="599"/>
                  </a:lnTo>
                  <a:lnTo>
                    <a:pt x="491" y="607"/>
                  </a:lnTo>
                  <a:lnTo>
                    <a:pt x="478" y="614"/>
                  </a:lnTo>
                  <a:lnTo>
                    <a:pt x="464" y="621"/>
                  </a:lnTo>
                  <a:lnTo>
                    <a:pt x="438" y="634"/>
                  </a:lnTo>
                  <a:lnTo>
                    <a:pt x="408" y="644"/>
                  </a:lnTo>
                  <a:lnTo>
                    <a:pt x="376" y="651"/>
                  </a:lnTo>
                  <a:lnTo>
                    <a:pt x="342" y="654"/>
                  </a:lnTo>
                  <a:lnTo>
                    <a:pt x="307" y="655"/>
                  </a:lnTo>
                  <a:lnTo>
                    <a:pt x="307" y="655"/>
                  </a:lnTo>
                  <a:lnTo>
                    <a:pt x="272" y="654"/>
                  </a:lnTo>
                  <a:lnTo>
                    <a:pt x="240" y="649"/>
                  </a:lnTo>
                  <a:lnTo>
                    <a:pt x="209" y="644"/>
                  </a:lnTo>
                  <a:lnTo>
                    <a:pt x="181" y="634"/>
                  </a:lnTo>
                  <a:lnTo>
                    <a:pt x="155" y="621"/>
                  </a:lnTo>
                  <a:lnTo>
                    <a:pt x="129" y="606"/>
                  </a:lnTo>
                  <a:lnTo>
                    <a:pt x="106" y="588"/>
                  </a:lnTo>
                  <a:lnTo>
                    <a:pt x="83" y="567"/>
                  </a:lnTo>
                  <a:lnTo>
                    <a:pt x="83" y="567"/>
                  </a:lnTo>
                  <a:lnTo>
                    <a:pt x="64" y="544"/>
                  </a:lnTo>
                  <a:lnTo>
                    <a:pt x="47" y="519"/>
                  </a:lnTo>
                  <a:lnTo>
                    <a:pt x="33" y="491"/>
                  </a:lnTo>
                  <a:lnTo>
                    <a:pt x="21" y="463"/>
                  </a:lnTo>
                  <a:lnTo>
                    <a:pt x="12" y="432"/>
                  </a:lnTo>
                  <a:lnTo>
                    <a:pt x="6" y="399"/>
                  </a:lnTo>
                  <a:lnTo>
                    <a:pt x="2" y="363"/>
                  </a:lnTo>
                  <a:lnTo>
                    <a:pt x="0" y="327"/>
                  </a:lnTo>
                  <a:lnTo>
                    <a:pt x="0" y="327"/>
                  </a:lnTo>
                  <a:lnTo>
                    <a:pt x="2" y="289"/>
                  </a:lnTo>
                  <a:lnTo>
                    <a:pt x="6" y="254"/>
                  </a:lnTo>
                  <a:lnTo>
                    <a:pt x="12" y="221"/>
                  </a:lnTo>
                  <a:lnTo>
                    <a:pt x="21" y="190"/>
                  </a:lnTo>
                  <a:lnTo>
                    <a:pt x="33" y="160"/>
                  </a:lnTo>
                  <a:lnTo>
                    <a:pt x="47" y="134"/>
                  </a:lnTo>
                  <a:lnTo>
                    <a:pt x="64" y="110"/>
                  </a:lnTo>
                  <a:lnTo>
                    <a:pt x="82" y="87"/>
                  </a:lnTo>
                  <a:lnTo>
                    <a:pt x="82" y="87"/>
                  </a:lnTo>
                  <a:lnTo>
                    <a:pt x="103" y="66"/>
                  </a:lnTo>
                  <a:lnTo>
                    <a:pt x="115" y="58"/>
                  </a:lnTo>
                  <a:lnTo>
                    <a:pt x="127" y="50"/>
                  </a:lnTo>
                  <a:lnTo>
                    <a:pt x="152" y="34"/>
                  </a:lnTo>
                  <a:lnTo>
                    <a:pt x="180" y="23"/>
                  </a:lnTo>
                  <a:lnTo>
                    <a:pt x="209" y="13"/>
                  </a:lnTo>
                  <a:lnTo>
                    <a:pt x="242" y="6"/>
                  </a:lnTo>
                  <a:lnTo>
                    <a:pt x="275" y="2"/>
                  </a:lnTo>
                  <a:lnTo>
                    <a:pt x="310" y="0"/>
                  </a:lnTo>
                  <a:lnTo>
                    <a:pt x="310" y="0"/>
                  </a:lnTo>
                  <a:lnTo>
                    <a:pt x="333" y="2"/>
                  </a:lnTo>
                  <a:lnTo>
                    <a:pt x="355" y="3"/>
                  </a:lnTo>
                  <a:lnTo>
                    <a:pt x="376" y="6"/>
                  </a:lnTo>
                  <a:lnTo>
                    <a:pt x="396" y="12"/>
                  </a:lnTo>
                  <a:lnTo>
                    <a:pt x="415" y="17"/>
                  </a:lnTo>
                  <a:lnTo>
                    <a:pt x="435" y="23"/>
                  </a:lnTo>
                  <a:lnTo>
                    <a:pt x="453" y="31"/>
                  </a:lnTo>
                  <a:lnTo>
                    <a:pt x="471" y="41"/>
                  </a:lnTo>
                  <a:lnTo>
                    <a:pt x="471" y="41"/>
                  </a:lnTo>
                  <a:lnTo>
                    <a:pt x="488" y="51"/>
                  </a:lnTo>
                  <a:lnTo>
                    <a:pt x="504" y="62"/>
                  </a:lnTo>
                  <a:lnTo>
                    <a:pt x="519" y="75"/>
                  </a:lnTo>
                  <a:lnTo>
                    <a:pt x="533" y="89"/>
                  </a:lnTo>
                  <a:lnTo>
                    <a:pt x="546" y="104"/>
                  </a:lnTo>
                  <a:lnTo>
                    <a:pt x="558" y="120"/>
                  </a:lnTo>
                  <a:lnTo>
                    <a:pt x="569" y="136"/>
                  </a:lnTo>
                  <a:lnTo>
                    <a:pt x="579" y="155"/>
                  </a:lnTo>
                  <a:lnTo>
                    <a:pt x="579" y="155"/>
                  </a:lnTo>
                  <a:lnTo>
                    <a:pt x="588" y="173"/>
                  </a:lnTo>
                  <a:lnTo>
                    <a:pt x="596" y="192"/>
                  </a:lnTo>
                  <a:lnTo>
                    <a:pt x="602" y="214"/>
                  </a:lnTo>
                  <a:lnTo>
                    <a:pt x="607" y="235"/>
                  </a:lnTo>
                  <a:lnTo>
                    <a:pt x="612" y="257"/>
                  </a:lnTo>
                  <a:lnTo>
                    <a:pt x="614" y="279"/>
                  </a:lnTo>
                  <a:lnTo>
                    <a:pt x="616" y="303"/>
                  </a:lnTo>
                  <a:lnTo>
                    <a:pt x="617" y="3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
              <a:extLst>
                <a:ext uri="{FF2B5EF4-FFF2-40B4-BE49-F238E27FC236}">
                  <a16:creationId xmlns:a16="http://schemas.microsoft.com/office/drawing/2014/main" id="{8B03F751-52B4-429D-B561-4855F8C5137F}"/>
                </a:ext>
              </a:extLst>
            </p:cNvPr>
            <p:cNvSpPr>
              <a:spLocks/>
            </p:cNvSpPr>
            <p:nvPr/>
          </p:nvSpPr>
          <p:spPr bwMode="auto">
            <a:xfrm>
              <a:off x="3662" y="1812"/>
              <a:ext cx="91" cy="165"/>
            </a:xfrm>
            <a:custGeom>
              <a:avLst/>
              <a:gdLst>
                <a:gd name="T0" fmla="*/ 0 w 184"/>
                <a:gd name="T1" fmla="*/ 164 h 331"/>
                <a:gd name="T2" fmla="*/ 6 w 184"/>
                <a:gd name="T3" fmla="*/ 236 h 331"/>
                <a:gd name="T4" fmla="*/ 13 w 184"/>
                <a:gd name="T5" fmla="*/ 265 h 331"/>
                <a:gd name="T6" fmla="*/ 23 w 184"/>
                <a:gd name="T7" fmla="*/ 289 h 331"/>
                <a:gd name="T8" fmla="*/ 28 w 184"/>
                <a:gd name="T9" fmla="*/ 299 h 331"/>
                <a:gd name="T10" fmla="*/ 42 w 184"/>
                <a:gd name="T11" fmla="*/ 314 h 331"/>
                <a:gd name="T12" fmla="*/ 61 w 184"/>
                <a:gd name="T13" fmla="*/ 325 h 331"/>
                <a:gd name="T14" fmla="*/ 82 w 184"/>
                <a:gd name="T15" fmla="*/ 331 h 331"/>
                <a:gd name="T16" fmla="*/ 93 w 184"/>
                <a:gd name="T17" fmla="*/ 331 h 331"/>
                <a:gd name="T18" fmla="*/ 117 w 184"/>
                <a:gd name="T19" fmla="*/ 328 h 331"/>
                <a:gd name="T20" fmla="*/ 136 w 184"/>
                <a:gd name="T21" fmla="*/ 320 h 331"/>
                <a:gd name="T22" fmla="*/ 152 w 184"/>
                <a:gd name="T23" fmla="*/ 307 h 331"/>
                <a:gd name="T24" fmla="*/ 163 w 184"/>
                <a:gd name="T25" fmla="*/ 289 h 331"/>
                <a:gd name="T26" fmla="*/ 168 w 184"/>
                <a:gd name="T27" fmla="*/ 276 h 331"/>
                <a:gd name="T28" fmla="*/ 175 w 184"/>
                <a:gd name="T29" fmla="*/ 251 h 331"/>
                <a:gd name="T30" fmla="*/ 182 w 184"/>
                <a:gd name="T31" fmla="*/ 202 h 331"/>
                <a:gd name="T32" fmla="*/ 184 w 184"/>
                <a:gd name="T33" fmla="*/ 164 h 331"/>
                <a:gd name="T34" fmla="*/ 178 w 184"/>
                <a:gd name="T35" fmla="*/ 93 h 331"/>
                <a:gd name="T36" fmla="*/ 173 w 184"/>
                <a:gd name="T37" fmla="*/ 65 h 331"/>
                <a:gd name="T38" fmla="*/ 163 w 184"/>
                <a:gd name="T39" fmla="*/ 42 h 331"/>
                <a:gd name="T40" fmla="*/ 157 w 184"/>
                <a:gd name="T41" fmla="*/ 32 h 331"/>
                <a:gd name="T42" fmla="*/ 143 w 184"/>
                <a:gd name="T43" fmla="*/ 17 h 331"/>
                <a:gd name="T44" fmla="*/ 126 w 184"/>
                <a:gd name="T45" fmla="*/ 6 h 331"/>
                <a:gd name="T46" fmla="*/ 104 w 184"/>
                <a:gd name="T47" fmla="*/ 1 h 331"/>
                <a:gd name="T48" fmla="*/ 93 w 184"/>
                <a:gd name="T49" fmla="*/ 0 h 331"/>
                <a:gd name="T50" fmla="*/ 69 w 184"/>
                <a:gd name="T51" fmla="*/ 3 h 331"/>
                <a:gd name="T52" fmla="*/ 51 w 184"/>
                <a:gd name="T53" fmla="*/ 11 h 331"/>
                <a:gd name="T54" fmla="*/ 34 w 184"/>
                <a:gd name="T55" fmla="*/ 24 h 331"/>
                <a:gd name="T56" fmla="*/ 23 w 184"/>
                <a:gd name="T57" fmla="*/ 42 h 331"/>
                <a:gd name="T58" fmla="*/ 17 w 184"/>
                <a:gd name="T59" fmla="*/ 52 h 331"/>
                <a:gd name="T60" fmla="*/ 9 w 184"/>
                <a:gd name="T61" fmla="*/ 79 h 331"/>
                <a:gd name="T62" fmla="*/ 2 w 184"/>
                <a:gd name="T63" fmla="*/ 12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4" h="331">
                  <a:moveTo>
                    <a:pt x="0" y="164"/>
                  </a:moveTo>
                  <a:lnTo>
                    <a:pt x="0" y="164"/>
                  </a:lnTo>
                  <a:lnTo>
                    <a:pt x="2" y="202"/>
                  </a:lnTo>
                  <a:lnTo>
                    <a:pt x="6" y="236"/>
                  </a:lnTo>
                  <a:lnTo>
                    <a:pt x="9" y="251"/>
                  </a:lnTo>
                  <a:lnTo>
                    <a:pt x="13" y="265"/>
                  </a:lnTo>
                  <a:lnTo>
                    <a:pt x="17" y="276"/>
                  </a:lnTo>
                  <a:lnTo>
                    <a:pt x="23" y="289"/>
                  </a:lnTo>
                  <a:lnTo>
                    <a:pt x="23" y="289"/>
                  </a:lnTo>
                  <a:lnTo>
                    <a:pt x="28" y="299"/>
                  </a:lnTo>
                  <a:lnTo>
                    <a:pt x="34" y="307"/>
                  </a:lnTo>
                  <a:lnTo>
                    <a:pt x="42" y="314"/>
                  </a:lnTo>
                  <a:lnTo>
                    <a:pt x="51" y="320"/>
                  </a:lnTo>
                  <a:lnTo>
                    <a:pt x="61" y="325"/>
                  </a:lnTo>
                  <a:lnTo>
                    <a:pt x="70" y="328"/>
                  </a:lnTo>
                  <a:lnTo>
                    <a:pt x="82" y="331"/>
                  </a:lnTo>
                  <a:lnTo>
                    <a:pt x="93" y="331"/>
                  </a:lnTo>
                  <a:lnTo>
                    <a:pt x="93" y="331"/>
                  </a:lnTo>
                  <a:lnTo>
                    <a:pt x="105" y="331"/>
                  </a:lnTo>
                  <a:lnTo>
                    <a:pt x="117" y="328"/>
                  </a:lnTo>
                  <a:lnTo>
                    <a:pt x="126" y="325"/>
                  </a:lnTo>
                  <a:lnTo>
                    <a:pt x="136" y="320"/>
                  </a:lnTo>
                  <a:lnTo>
                    <a:pt x="145" y="314"/>
                  </a:lnTo>
                  <a:lnTo>
                    <a:pt x="152" y="307"/>
                  </a:lnTo>
                  <a:lnTo>
                    <a:pt x="157" y="299"/>
                  </a:lnTo>
                  <a:lnTo>
                    <a:pt x="163" y="289"/>
                  </a:lnTo>
                  <a:lnTo>
                    <a:pt x="163" y="289"/>
                  </a:lnTo>
                  <a:lnTo>
                    <a:pt x="168" y="276"/>
                  </a:lnTo>
                  <a:lnTo>
                    <a:pt x="173" y="265"/>
                  </a:lnTo>
                  <a:lnTo>
                    <a:pt x="175" y="251"/>
                  </a:lnTo>
                  <a:lnTo>
                    <a:pt x="178" y="236"/>
                  </a:lnTo>
                  <a:lnTo>
                    <a:pt x="182" y="202"/>
                  </a:lnTo>
                  <a:lnTo>
                    <a:pt x="184" y="164"/>
                  </a:lnTo>
                  <a:lnTo>
                    <a:pt x="184" y="164"/>
                  </a:lnTo>
                  <a:lnTo>
                    <a:pt x="182" y="126"/>
                  </a:lnTo>
                  <a:lnTo>
                    <a:pt x="178" y="93"/>
                  </a:lnTo>
                  <a:lnTo>
                    <a:pt x="175" y="79"/>
                  </a:lnTo>
                  <a:lnTo>
                    <a:pt x="173" y="65"/>
                  </a:lnTo>
                  <a:lnTo>
                    <a:pt x="168" y="53"/>
                  </a:lnTo>
                  <a:lnTo>
                    <a:pt x="163" y="42"/>
                  </a:lnTo>
                  <a:lnTo>
                    <a:pt x="163" y="42"/>
                  </a:lnTo>
                  <a:lnTo>
                    <a:pt x="157" y="32"/>
                  </a:lnTo>
                  <a:lnTo>
                    <a:pt x="152" y="24"/>
                  </a:lnTo>
                  <a:lnTo>
                    <a:pt x="143" y="17"/>
                  </a:lnTo>
                  <a:lnTo>
                    <a:pt x="135" y="11"/>
                  </a:lnTo>
                  <a:lnTo>
                    <a:pt x="126" y="6"/>
                  </a:lnTo>
                  <a:lnTo>
                    <a:pt x="115" y="3"/>
                  </a:lnTo>
                  <a:lnTo>
                    <a:pt x="104" y="1"/>
                  </a:lnTo>
                  <a:lnTo>
                    <a:pt x="93" y="0"/>
                  </a:lnTo>
                  <a:lnTo>
                    <a:pt x="93" y="0"/>
                  </a:lnTo>
                  <a:lnTo>
                    <a:pt x="80" y="1"/>
                  </a:lnTo>
                  <a:lnTo>
                    <a:pt x="69" y="3"/>
                  </a:lnTo>
                  <a:lnTo>
                    <a:pt x="59" y="6"/>
                  </a:lnTo>
                  <a:lnTo>
                    <a:pt x="51" y="11"/>
                  </a:lnTo>
                  <a:lnTo>
                    <a:pt x="42" y="17"/>
                  </a:lnTo>
                  <a:lnTo>
                    <a:pt x="34" y="24"/>
                  </a:lnTo>
                  <a:lnTo>
                    <a:pt x="28" y="32"/>
                  </a:lnTo>
                  <a:lnTo>
                    <a:pt x="23" y="42"/>
                  </a:lnTo>
                  <a:lnTo>
                    <a:pt x="23" y="42"/>
                  </a:lnTo>
                  <a:lnTo>
                    <a:pt x="17" y="52"/>
                  </a:lnTo>
                  <a:lnTo>
                    <a:pt x="13" y="65"/>
                  </a:lnTo>
                  <a:lnTo>
                    <a:pt x="9" y="79"/>
                  </a:lnTo>
                  <a:lnTo>
                    <a:pt x="6" y="93"/>
                  </a:lnTo>
                  <a:lnTo>
                    <a:pt x="2" y="126"/>
                  </a:lnTo>
                  <a:lnTo>
                    <a:pt x="0" y="1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4">
              <a:extLst>
                <a:ext uri="{FF2B5EF4-FFF2-40B4-BE49-F238E27FC236}">
                  <a16:creationId xmlns:a16="http://schemas.microsoft.com/office/drawing/2014/main" id="{4C0173E8-5981-4CC8-8FEA-192EBB85552A}"/>
                </a:ext>
              </a:extLst>
            </p:cNvPr>
            <p:cNvSpPr>
              <a:spLocks noChangeArrowheads="1"/>
            </p:cNvSpPr>
            <p:nvPr/>
          </p:nvSpPr>
          <p:spPr bwMode="auto">
            <a:xfrm>
              <a:off x="3904" y="1736"/>
              <a:ext cx="107" cy="3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15">
              <a:extLst>
                <a:ext uri="{FF2B5EF4-FFF2-40B4-BE49-F238E27FC236}">
                  <a16:creationId xmlns:a16="http://schemas.microsoft.com/office/drawing/2014/main" id="{3CF6FC06-6AB3-4E60-801E-BB046691E93E}"/>
                </a:ext>
              </a:extLst>
            </p:cNvPr>
            <p:cNvSpPr>
              <a:spLocks noChangeArrowheads="1"/>
            </p:cNvSpPr>
            <p:nvPr/>
          </p:nvSpPr>
          <p:spPr bwMode="auto">
            <a:xfrm>
              <a:off x="3904" y="1627"/>
              <a:ext cx="107" cy="7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6">
              <a:extLst>
                <a:ext uri="{FF2B5EF4-FFF2-40B4-BE49-F238E27FC236}">
                  <a16:creationId xmlns:a16="http://schemas.microsoft.com/office/drawing/2014/main" id="{639AC132-9DAB-45D3-BF7B-BE8F0785DBB8}"/>
                </a:ext>
              </a:extLst>
            </p:cNvPr>
            <p:cNvSpPr>
              <a:spLocks/>
            </p:cNvSpPr>
            <p:nvPr/>
          </p:nvSpPr>
          <p:spPr bwMode="auto">
            <a:xfrm>
              <a:off x="4053" y="1638"/>
              <a:ext cx="225" cy="420"/>
            </a:xfrm>
            <a:custGeom>
              <a:avLst/>
              <a:gdLst>
                <a:gd name="T0" fmla="*/ 348 w 452"/>
                <a:gd name="T1" fmla="*/ 669 h 841"/>
                <a:gd name="T2" fmla="*/ 348 w 452"/>
                <a:gd name="T3" fmla="*/ 669 h 841"/>
                <a:gd name="T4" fmla="*/ 370 w 452"/>
                <a:gd name="T5" fmla="*/ 667 h 841"/>
                <a:gd name="T6" fmla="*/ 396 w 452"/>
                <a:gd name="T7" fmla="*/ 664 h 841"/>
                <a:gd name="T8" fmla="*/ 422 w 452"/>
                <a:gd name="T9" fmla="*/ 657 h 841"/>
                <a:gd name="T10" fmla="*/ 452 w 452"/>
                <a:gd name="T11" fmla="*/ 648 h 841"/>
                <a:gd name="T12" fmla="*/ 452 w 452"/>
                <a:gd name="T13" fmla="*/ 806 h 841"/>
                <a:gd name="T14" fmla="*/ 452 w 452"/>
                <a:gd name="T15" fmla="*/ 806 h 841"/>
                <a:gd name="T16" fmla="*/ 429 w 452"/>
                <a:gd name="T17" fmla="*/ 816 h 841"/>
                <a:gd name="T18" fmla="*/ 410 w 452"/>
                <a:gd name="T19" fmla="*/ 823 h 841"/>
                <a:gd name="T20" fmla="*/ 389 w 452"/>
                <a:gd name="T21" fmla="*/ 828 h 841"/>
                <a:gd name="T22" fmla="*/ 369 w 452"/>
                <a:gd name="T23" fmla="*/ 834 h 841"/>
                <a:gd name="T24" fmla="*/ 369 w 452"/>
                <a:gd name="T25" fmla="*/ 834 h 841"/>
                <a:gd name="T26" fmla="*/ 349 w 452"/>
                <a:gd name="T27" fmla="*/ 837 h 841"/>
                <a:gd name="T28" fmla="*/ 327 w 452"/>
                <a:gd name="T29" fmla="*/ 840 h 841"/>
                <a:gd name="T30" fmla="*/ 303 w 452"/>
                <a:gd name="T31" fmla="*/ 841 h 841"/>
                <a:gd name="T32" fmla="*/ 278 w 452"/>
                <a:gd name="T33" fmla="*/ 841 h 841"/>
                <a:gd name="T34" fmla="*/ 278 w 452"/>
                <a:gd name="T35" fmla="*/ 841 h 841"/>
                <a:gd name="T36" fmla="*/ 251 w 452"/>
                <a:gd name="T37" fmla="*/ 841 h 841"/>
                <a:gd name="T38" fmla="*/ 227 w 452"/>
                <a:gd name="T39" fmla="*/ 838 h 841"/>
                <a:gd name="T40" fmla="*/ 206 w 452"/>
                <a:gd name="T41" fmla="*/ 834 h 841"/>
                <a:gd name="T42" fmla="*/ 185 w 452"/>
                <a:gd name="T43" fmla="*/ 828 h 841"/>
                <a:gd name="T44" fmla="*/ 167 w 452"/>
                <a:gd name="T45" fmla="*/ 820 h 841"/>
                <a:gd name="T46" fmla="*/ 150 w 452"/>
                <a:gd name="T47" fmla="*/ 812 h 841"/>
                <a:gd name="T48" fmla="*/ 136 w 452"/>
                <a:gd name="T49" fmla="*/ 800 h 841"/>
                <a:gd name="T50" fmla="*/ 124 w 452"/>
                <a:gd name="T51" fmla="*/ 788 h 841"/>
                <a:gd name="T52" fmla="*/ 124 w 452"/>
                <a:gd name="T53" fmla="*/ 788 h 841"/>
                <a:gd name="T54" fmla="*/ 113 w 452"/>
                <a:gd name="T55" fmla="*/ 774 h 841"/>
                <a:gd name="T56" fmla="*/ 103 w 452"/>
                <a:gd name="T57" fmla="*/ 757 h 841"/>
                <a:gd name="T58" fmla="*/ 94 w 452"/>
                <a:gd name="T59" fmla="*/ 739 h 841"/>
                <a:gd name="T60" fmla="*/ 87 w 452"/>
                <a:gd name="T61" fmla="*/ 719 h 841"/>
                <a:gd name="T62" fmla="*/ 82 w 452"/>
                <a:gd name="T63" fmla="*/ 698 h 841"/>
                <a:gd name="T64" fmla="*/ 79 w 452"/>
                <a:gd name="T65" fmla="*/ 674 h 841"/>
                <a:gd name="T66" fmla="*/ 76 w 452"/>
                <a:gd name="T67" fmla="*/ 649 h 841"/>
                <a:gd name="T68" fmla="*/ 76 w 452"/>
                <a:gd name="T69" fmla="*/ 622 h 841"/>
                <a:gd name="T70" fmla="*/ 76 w 452"/>
                <a:gd name="T71" fmla="*/ 362 h 841"/>
                <a:gd name="T72" fmla="*/ 0 w 452"/>
                <a:gd name="T73" fmla="*/ 362 h 841"/>
                <a:gd name="T74" fmla="*/ 0 w 452"/>
                <a:gd name="T75" fmla="*/ 198 h 841"/>
                <a:gd name="T76" fmla="*/ 76 w 452"/>
                <a:gd name="T77" fmla="*/ 198 h 841"/>
                <a:gd name="T78" fmla="*/ 76 w 452"/>
                <a:gd name="T79" fmla="*/ 36 h 841"/>
                <a:gd name="T80" fmla="*/ 291 w 452"/>
                <a:gd name="T81" fmla="*/ 0 h 841"/>
                <a:gd name="T82" fmla="*/ 291 w 452"/>
                <a:gd name="T83" fmla="*/ 198 h 841"/>
                <a:gd name="T84" fmla="*/ 426 w 452"/>
                <a:gd name="T85" fmla="*/ 198 h 841"/>
                <a:gd name="T86" fmla="*/ 426 w 452"/>
                <a:gd name="T87" fmla="*/ 362 h 841"/>
                <a:gd name="T88" fmla="*/ 291 w 452"/>
                <a:gd name="T89" fmla="*/ 362 h 841"/>
                <a:gd name="T90" fmla="*/ 291 w 452"/>
                <a:gd name="T91" fmla="*/ 608 h 841"/>
                <a:gd name="T92" fmla="*/ 291 w 452"/>
                <a:gd name="T93" fmla="*/ 608 h 841"/>
                <a:gd name="T94" fmla="*/ 292 w 452"/>
                <a:gd name="T95" fmla="*/ 622 h 841"/>
                <a:gd name="T96" fmla="*/ 293 w 452"/>
                <a:gd name="T97" fmla="*/ 635 h 841"/>
                <a:gd name="T98" fmla="*/ 299 w 452"/>
                <a:gd name="T99" fmla="*/ 645 h 841"/>
                <a:gd name="T100" fmla="*/ 305 w 452"/>
                <a:gd name="T101" fmla="*/ 653 h 841"/>
                <a:gd name="T102" fmla="*/ 313 w 452"/>
                <a:gd name="T103" fmla="*/ 660 h 841"/>
                <a:gd name="T104" fmla="*/ 323 w 452"/>
                <a:gd name="T105" fmla="*/ 666 h 841"/>
                <a:gd name="T106" fmla="*/ 334 w 452"/>
                <a:gd name="T107" fmla="*/ 669 h 841"/>
                <a:gd name="T108" fmla="*/ 348 w 452"/>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841">
                  <a:moveTo>
                    <a:pt x="348" y="669"/>
                  </a:moveTo>
                  <a:lnTo>
                    <a:pt x="348" y="669"/>
                  </a:lnTo>
                  <a:lnTo>
                    <a:pt x="370" y="667"/>
                  </a:lnTo>
                  <a:lnTo>
                    <a:pt x="396" y="664"/>
                  </a:lnTo>
                  <a:lnTo>
                    <a:pt x="422" y="657"/>
                  </a:lnTo>
                  <a:lnTo>
                    <a:pt x="452" y="648"/>
                  </a:lnTo>
                  <a:lnTo>
                    <a:pt x="452" y="806"/>
                  </a:lnTo>
                  <a:lnTo>
                    <a:pt x="452" y="806"/>
                  </a:lnTo>
                  <a:lnTo>
                    <a:pt x="429" y="816"/>
                  </a:lnTo>
                  <a:lnTo>
                    <a:pt x="410" y="823"/>
                  </a:lnTo>
                  <a:lnTo>
                    <a:pt x="389" y="828"/>
                  </a:lnTo>
                  <a:lnTo>
                    <a:pt x="369" y="834"/>
                  </a:lnTo>
                  <a:lnTo>
                    <a:pt x="369" y="834"/>
                  </a:lnTo>
                  <a:lnTo>
                    <a:pt x="349" y="837"/>
                  </a:lnTo>
                  <a:lnTo>
                    <a:pt x="327" y="840"/>
                  </a:lnTo>
                  <a:lnTo>
                    <a:pt x="303" y="841"/>
                  </a:lnTo>
                  <a:lnTo>
                    <a:pt x="278" y="841"/>
                  </a:lnTo>
                  <a:lnTo>
                    <a:pt x="278" y="841"/>
                  </a:lnTo>
                  <a:lnTo>
                    <a:pt x="251" y="841"/>
                  </a:lnTo>
                  <a:lnTo>
                    <a:pt x="227" y="838"/>
                  </a:lnTo>
                  <a:lnTo>
                    <a:pt x="206" y="834"/>
                  </a:lnTo>
                  <a:lnTo>
                    <a:pt x="185" y="828"/>
                  </a:lnTo>
                  <a:lnTo>
                    <a:pt x="167" y="820"/>
                  </a:lnTo>
                  <a:lnTo>
                    <a:pt x="150" y="812"/>
                  </a:lnTo>
                  <a:lnTo>
                    <a:pt x="136" y="800"/>
                  </a:lnTo>
                  <a:lnTo>
                    <a:pt x="124" y="788"/>
                  </a:lnTo>
                  <a:lnTo>
                    <a:pt x="124" y="788"/>
                  </a:lnTo>
                  <a:lnTo>
                    <a:pt x="113" y="774"/>
                  </a:lnTo>
                  <a:lnTo>
                    <a:pt x="103" y="757"/>
                  </a:lnTo>
                  <a:lnTo>
                    <a:pt x="94" y="739"/>
                  </a:lnTo>
                  <a:lnTo>
                    <a:pt x="87" y="719"/>
                  </a:lnTo>
                  <a:lnTo>
                    <a:pt x="82" y="698"/>
                  </a:lnTo>
                  <a:lnTo>
                    <a:pt x="79" y="674"/>
                  </a:lnTo>
                  <a:lnTo>
                    <a:pt x="76" y="649"/>
                  </a:lnTo>
                  <a:lnTo>
                    <a:pt x="76" y="622"/>
                  </a:lnTo>
                  <a:lnTo>
                    <a:pt x="76" y="362"/>
                  </a:lnTo>
                  <a:lnTo>
                    <a:pt x="0" y="362"/>
                  </a:lnTo>
                  <a:lnTo>
                    <a:pt x="0" y="198"/>
                  </a:lnTo>
                  <a:lnTo>
                    <a:pt x="76" y="198"/>
                  </a:lnTo>
                  <a:lnTo>
                    <a:pt x="76" y="36"/>
                  </a:lnTo>
                  <a:lnTo>
                    <a:pt x="291" y="0"/>
                  </a:lnTo>
                  <a:lnTo>
                    <a:pt x="291" y="198"/>
                  </a:lnTo>
                  <a:lnTo>
                    <a:pt x="426" y="198"/>
                  </a:lnTo>
                  <a:lnTo>
                    <a:pt x="426" y="362"/>
                  </a:lnTo>
                  <a:lnTo>
                    <a:pt x="291" y="362"/>
                  </a:lnTo>
                  <a:lnTo>
                    <a:pt x="291" y="608"/>
                  </a:lnTo>
                  <a:lnTo>
                    <a:pt x="291" y="608"/>
                  </a:lnTo>
                  <a:lnTo>
                    <a:pt x="292" y="622"/>
                  </a:lnTo>
                  <a:lnTo>
                    <a:pt x="293" y="635"/>
                  </a:lnTo>
                  <a:lnTo>
                    <a:pt x="299" y="645"/>
                  </a:lnTo>
                  <a:lnTo>
                    <a:pt x="305" y="653"/>
                  </a:lnTo>
                  <a:lnTo>
                    <a:pt x="313" y="660"/>
                  </a:lnTo>
                  <a:lnTo>
                    <a:pt x="323" y="666"/>
                  </a:lnTo>
                  <a:lnTo>
                    <a:pt x="334" y="669"/>
                  </a:lnTo>
                  <a:lnTo>
                    <a:pt x="348" y="6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
              <a:extLst>
                <a:ext uri="{FF2B5EF4-FFF2-40B4-BE49-F238E27FC236}">
                  <a16:creationId xmlns:a16="http://schemas.microsoft.com/office/drawing/2014/main" id="{AC4F439F-02B6-4AA3-B92E-EE8670492FAB}"/>
                </a:ext>
              </a:extLst>
            </p:cNvPr>
            <p:cNvSpPr>
              <a:spLocks/>
            </p:cNvSpPr>
            <p:nvPr/>
          </p:nvSpPr>
          <p:spPr bwMode="auto">
            <a:xfrm>
              <a:off x="4053" y="1638"/>
              <a:ext cx="225" cy="420"/>
            </a:xfrm>
            <a:custGeom>
              <a:avLst/>
              <a:gdLst>
                <a:gd name="T0" fmla="*/ 348 w 452"/>
                <a:gd name="T1" fmla="*/ 669 h 841"/>
                <a:gd name="T2" fmla="*/ 348 w 452"/>
                <a:gd name="T3" fmla="*/ 669 h 841"/>
                <a:gd name="T4" fmla="*/ 370 w 452"/>
                <a:gd name="T5" fmla="*/ 667 h 841"/>
                <a:gd name="T6" fmla="*/ 396 w 452"/>
                <a:gd name="T7" fmla="*/ 664 h 841"/>
                <a:gd name="T8" fmla="*/ 422 w 452"/>
                <a:gd name="T9" fmla="*/ 657 h 841"/>
                <a:gd name="T10" fmla="*/ 452 w 452"/>
                <a:gd name="T11" fmla="*/ 648 h 841"/>
                <a:gd name="T12" fmla="*/ 452 w 452"/>
                <a:gd name="T13" fmla="*/ 806 h 841"/>
                <a:gd name="T14" fmla="*/ 452 w 452"/>
                <a:gd name="T15" fmla="*/ 806 h 841"/>
                <a:gd name="T16" fmla="*/ 429 w 452"/>
                <a:gd name="T17" fmla="*/ 816 h 841"/>
                <a:gd name="T18" fmla="*/ 410 w 452"/>
                <a:gd name="T19" fmla="*/ 823 h 841"/>
                <a:gd name="T20" fmla="*/ 389 w 452"/>
                <a:gd name="T21" fmla="*/ 828 h 841"/>
                <a:gd name="T22" fmla="*/ 369 w 452"/>
                <a:gd name="T23" fmla="*/ 834 h 841"/>
                <a:gd name="T24" fmla="*/ 369 w 452"/>
                <a:gd name="T25" fmla="*/ 834 h 841"/>
                <a:gd name="T26" fmla="*/ 349 w 452"/>
                <a:gd name="T27" fmla="*/ 837 h 841"/>
                <a:gd name="T28" fmla="*/ 327 w 452"/>
                <a:gd name="T29" fmla="*/ 840 h 841"/>
                <a:gd name="T30" fmla="*/ 303 w 452"/>
                <a:gd name="T31" fmla="*/ 841 h 841"/>
                <a:gd name="T32" fmla="*/ 278 w 452"/>
                <a:gd name="T33" fmla="*/ 841 h 841"/>
                <a:gd name="T34" fmla="*/ 278 w 452"/>
                <a:gd name="T35" fmla="*/ 841 h 841"/>
                <a:gd name="T36" fmla="*/ 251 w 452"/>
                <a:gd name="T37" fmla="*/ 841 h 841"/>
                <a:gd name="T38" fmla="*/ 227 w 452"/>
                <a:gd name="T39" fmla="*/ 838 h 841"/>
                <a:gd name="T40" fmla="*/ 206 w 452"/>
                <a:gd name="T41" fmla="*/ 834 h 841"/>
                <a:gd name="T42" fmla="*/ 185 w 452"/>
                <a:gd name="T43" fmla="*/ 828 h 841"/>
                <a:gd name="T44" fmla="*/ 167 w 452"/>
                <a:gd name="T45" fmla="*/ 820 h 841"/>
                <a:gd name="T46" fmla="*/ 150 w 452"/>
                <a:gd name="T47" fmla="*/ 812 h 841"/>
                <a:gd name="T48" fmla="*/ 136 w 452"/>
                <a:gd name="T49" fmla="*/ 800 h 841"/>
                <a:gd name="T50" fmla="*/ 124 w 452"/>
                <a:gd name="T51" fmla="*/ 788 h 841"/>
                <a:gd name="T52" fmla="*/ 124 w 452"/>
                <a:gd name="T53" fmla="*/ 788 h 841"/>
                <a:gd name="T54" fmla="*/ 113 w 452"/>
                <a:gd name="T55" fmla="*/ 774 h 841"/>
                <a:gd name="T56" fmla="*/ 103 w 452"/>
                <a:gd name="T57" fmla="*/ 757 h 841"/>
                <a:gd name="T58" fmla="*/ 94 w 452"/>
                <a:gd name="T59" fmla="*/ 739 h 841"/>
                <a:gd name="T60" fmla="*/ 87 w 452"/>
                <a:gd name="T61" fmla="*/ 719 h 841"/>
                <a:gd name="T62" fmla="*/ 82 w 452"/>
                <a:gd name="T63" fmla="*/ 698 h 841"/>
                <a:gd name="T64" fmla="*/ 79 w 452"/>
                <a:gd name="T65" fmla="*/ 674 h 841"/>
                <a:gd name="T66" fmla="*/ 76 w 452"/>
                <a:gd name="T67" fmla="*/ 649 h 841"/>
                <a:gd name="T68" fmla="*/ 76 w 452"/>
                <a:gd name="T69" fmla="*/ 622 h 841"/>
                <a:gd name="T70" fmla="*/ 76 w 452"/>
                <a:gd name="T71" fmla="*/ 362 h 841"/>
                <a:gd name="T72" fmla="*/ 0 w 452"/>
                <a:gd name="T73" fmla="*/ 362 h 841"/>
                <a:gd name="T74" fmla="*/ 0 w 452"/>
                <a:gd name="T75" fmla="*/ 198 h 841"/>
                <a:gd name="T76" fmla="*/ 76 w 452"/>
                <a:gd name="T77" fmla="*/ 198 h 841"/>
                <a:gd name="T78" fmla="*/ 76 w 452"/>
                <a:gd name="T79" fmla="*/ 36 h 841"/>
                <a:gd name="T80" fmla="*/ 291 w 452"/>
                <a:gd name="T81" fmla="*/ 0 h 841"/>
                <a:gd name="T82" fmla="*/ 291 w 452"/>
                <a:gd name="T83" fmla="*/ 198 h 841"/>
                <a:gd name="T84" fmla="*/ 426 w 452"/>
                <a:gd name="T85" fmla="*/ 198 h 841"/>
                <a:gd name="T86" fmla="*/ 426 w 452"/>
                <a:gd name="T87" fmla="*/ 362 h 841"/>
                <a:gd name="T88" fmla="*/ 291 w 452"/>
                <a:gd name="T89" fmla="*/ 362 h 841"/>
                <a:gd name="T90" fmla="*/ 291 w 452"/>
                <a:gd name="T91" fmla="*/ 608 h 841"/>
                <a:gd name="T92" fmla="*/ 291 w 452"/>
                <a:gd name="T93" fmla="*/ 608 h 841"/>
                <a:gd name="T94" fmla="*/ 292 w 452"/>
                <a:gd name="T95" fmla="*/ 622 h 841"/>
                <a:gd name="T96" fmla="*/ 293 w 452"/>
                <a:gd name="T97" fmla="*/ 635 h 841"/>
                <a:gd name="T98" fmla="*/ 299 w 452"/>
                <a:gd name="T99" fmla="*/ 645 h 841"/>
                <a:gd name="T100" fmla="*/ 305 w 452"/>
                <a:gd name="T101" fmla="*/ 653 h 841"/>
                <a:gd name="T102" fmla="*/ 313 w 452"/>
                <a:gd name="T103" fmla="*/ 660 h 841"/>
                <a:gd name="T104" fmla="*/ 323 w 452"/>
                <a:gd name="T105" fmla="*/ 666 h 841"/>
                <a:gd name="T106" fmla="*/ 334 w 452"/>
                <a:gd name="T107" fmla="*/ 669 h 841"/>
                <a:gd name="T108" fmla="*/ 348 w 452"/>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841">
                  <a:moveTo>
                    <a:pt x="348" y="669"/>
                  </a:moveTo>
                  <a:lnTo>
                    <a:pt x="348" y="669"/>
                  </a:lnTo>
                  <a:lnTo>
                    <a:pt x="370" y="667"/>
                  </a:lnTo>
                  <a:lnTo>
                    <a:pt x="396" y="664"/>
                  </a:lnTo>
                  <a:lnTo>
                    <a:pt x="422" y="657"/>
                  </a:lnTo>
                  <a:lnTo>
                    <a:pt x="452" y="648"/>
                  </a:lnTo>
                  <a:lnTo>
                    <a:pt x="452" y="806"/>
                  </a:lnTo>
                  <a:lnTo>
                    <a:pt x="452" y="806"/>
                  </a:lnTo>
                  <a:lnTo>
                    <a:pt x="429" y="816"/>
                  </a:lnTo>
                  <a:lnTo>
                    <a:pt x="410" y="823"/>
                  </a:lnTo>
                  <a:lnTo>
                    <a:pt x="389" y="828"/>
                  </a:lnTo>
                  <a:lnTo>
                    <a:pt x="369" y="834"/>
                  </a:lnTo>
                  <a:lnTo>
                    <a:pt x="369" y="834"/>
                  </a:lnTo>
                  <a:lnTo>
                    <a:pt x="349" y="837"/>
                  </a:lnTo>
                  <a:lnTo>
                    <a:pt x="327" y="840"/>
                  </a:lnTo>
                  <a:lnTo>
                    <a:pt x="303" y="841"/>
                  </a:lnTo>
                  <a:lnTo>
                    <a:pt x="278" y="841"/>
                  </a:lnTo>
                  <a:lnTo>
                    <a:pt x="278" y="841"/>
                  </a:lnTo>
                  <a:lnTo>
                    <a:pt x="251" y="841"/>
                  </a:lnTo>
                  <a:lnTo>
                    <a:pt x="227" y="838"/>
                  </a:lnTo>
                  <a:lnTo>
                    <a:pt x="206" y="834"/>
                  </a:lnTo>
                  <a:lnTo>
                    <a:pt x="185" y="828"/>
                  </a:lnTo>
                  <a:lnTo>
                    <a:pt x="167" y="820"/>
                  </a:lnTo>
                  <a:lnTo>
                    <a:pt x="150" y="812"/>
                  </a:lnTo>
                  <a:lnTo>
                    <a:pt x="136" y="800"/>
                  </a:lnTo>
                  <a:lnTo>
                    <a:pt x="124" y="788"/>
                  </a:lnTo>
                  <a:lnTo>
                    <a:pt x="124" y="788"/>
                  </a:lnTo>
                  <a:lnTo>
                    <a:pt x="113" y="774"/>
                  </a:lnTo>
                  <a:lnTo>
                    <a:pt x="103" y="757"/>
                  </a:lnTo>
                  <a:lnTo>
                    <a:pt x="94" y="739"/>
                  </a:lnTo>
                  <a:lnTo>
                    <a:pt x="87" y="719"/>
                  </a:lnTo>
                  <a:lnTo>
                    <a:pt x="82" y="698"/>
                  </a:lnTo>
                  <a:lnTo>
                    <a:pt x="79" y="674"/>
                  </a:lnTo>
                  <a:lnTo>
                    <a:pt x="76" y="649"/>
                  </a:lnTo>
                  <a:lnTo>
                    <a:pt x="76" y="622"/>
                  </a:lnTo>
                  <a:lnTo>
                    <a:pt x="76" y="362"/>
                  </a:lnTo>
                  <a:lnTo>
                    <a:pt x="0" y="362"/>
                  </a:lnTo>
                  <a:lnTo>
                    <a:pt x="0" y="198"/>
                  </a:lnTo>
                  <a:lnTo>
                    <a:pt x="76" y="198"/>
                  </a:lnTo>
                  <a:lnTo>
                    <a:pt x="76" y="36"/>
                  </a:lnTo>
                  <a:lnTo>
                    <a:pt x="291" y="0"/>
                  </a:lnTo>
                  <a:lnTo>
                    <a:pt x="291" y="198"/>
                  </a:lnTo>
                  <a:lnTo>
                    <a:pt x="426" y="198"/>
                  </a:lnTo>
                  <a:lnTo>
                    <a:pt x="426" y="362"/>
                  </a:lnTo>
                  <a:lnTo>
                    <a:pt x="291" y="362"/>
                  </a:lnTo>
                  <a:lnTo>
                    <a:pt x="291" y="608"/>
                  </a:lnTo>
                  <a:lnTo>
                    <a:pt x="291" y="608"/>
                  </a:lnTo>
                  <a:lnTo>
                    <a:pt x="292" y="622"/>
                  </a:lnTo>
                  <a:lnTo>
                    <a:pt x="293" y="635"/>
                  </a:lnTo>
                  <a:lnTo>
                    <a:pt x="299" y="645"/>
                  </a:lnTo>
                  <a:lnTo>
                    <a:pt x="305" y="653"/>
                  </a:lnTo>
                  <a:lnTo>
                    <a:pt x="313" y="660"/>
                  </a:lnTo>
                  <a:lnTo>
                    <a:pt x="323" y="666"/>
                  </a:lnTo>
                  <a:lnTo>
                    <a:pt x="334" y="669"/>
                  </a:lnTo>
                  <a:lnTo>
                    <a:pt x="348" y="6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8">
              <a:extLst>
                <a:ext uri="{FF2B5EF4-FFF2-40B4-BE49-F238E27FC236}">
                  <a16:creationId xmlns:a16="http://schemas.microsoft.com/office/drawing/2014/main" id="{F421C921-364B-49B7-AE75-5C8D0D6E79E8}"/>
                </a:ext>
              </a:extLst>
            </p:cNvPr>
            <p:cNvSpPr>
              <a:spLocks/>
            </p:cNvSpPr>
            <p:nvPr/>
          </p:nvSpPr>
          <p:spPr bwMode="auto">
            <a:xfrm>
              <a:off x="4299" y="1638"/>
              <a:ext cx="225" cy="420"/>
            </a:xfrm>
            <a:custGeom>
              <a:avLst/>
              <a:gdLst>
                <a:gd name="T0" fmla="*/ 347 w 450"/>
                <a:gd name="T1" fmla="*/ 669 h 841"/>
                <a:gd name="T2" fmla="*/ 347 w 450"/>
                <a:gd name="T3" fmla="*/ 669 h 841"/>
                <a:gd name="T4" fmla="*/ 370 w 450"/>
                <a:gd name="T5" fmla="*/ 667 h 841"/>
                <a:gd name="T6" fmla="*/ 395 w 450"/>
                <a:gd name="T7" fmla="*/ 664 h 841"/>
                <a:gd name="T8" fmla="*/ 422 w 450"/>
                <a:gd name="T9" fmla="*/ 657 h 841"/>
                <a:gd name="T10" fmla="*/ 450 w 450"/>
                <a:gd name="T11" fmla="*/ 648 h 841"/>
                <a:gd name="T12" fmla="*/ 450 w 450"/>
                <a:gd name="T13" fmla="*/ 806 h 841"/>
                <a:gd name="T14" fmla="*/ 450 w 450"/>
                <a:gd name="T15" fmla="*/ 806 h 841"/>
                <a:gd name="T16" fmla="*/ 429 w 450"/>
                <a:gd name="T17" fmla="*/ 816 h 841"/>
                <a:gd name="T18" fmla="*/ 408 w 450"/>
                <a:gd name="T19" fmla="*/ 823 h 841"/>
                <a:gd name="T20" fmla="*/ 388 w 450"/>
                <a:gd name="T21" fmla="*/ 828 h 841"/>
                <a:gd name="T22" fmla="*/ 368 w 450"/>
                <a:gd name="T23" fmla="*/ 834 h 841"/>
                <a:gd name="T24" fmla="*/ 368 w 450"/>
                <a:gd name="T25" fmla="*/ 834 h 841"/>
                <a:gd name="T26" fmla="*/ 347 w 450"/>
                <a:gd name="T27" fmla="*/ 837 h 841"/>
                <a:gd name="T28" fmla="*/ 326 w 450"/>
                <a:gd name="T29" fmla="*/ 840 h 841"/>
                <a:gd name="T30" fmla="*/ 303 w 450"/>
                <a:gd name="T31" fmla="*/ 841 h 841"/>
                <a:gd name="T32" fmla="*/ 277 w 450"/>
                <a:gd name="T33" fmla="*/ 841 h 841"/>
                <a:gd name="T34" fmla="*/ 277 w 450"/>
                <a:gd name="T35" fmla="*/ 841 h 841"/>
                <a:gd name="T36" fmla="*/ 251 w 450"/>
                <a:gd name="T37" fmla="*/ 841 h 841"/>
                <a:gd name="T38" fmla="*/ 227 w 450"/>
                <a:gd name="T39" fmla="*/ 838 h 841"/>
                <a:gd name="T40" fmla="*/ 204 w 450"/>
                <a:gd name="T41" fmla="*/ 834 h 841"/>
                <a:gd name="T42" fmla="*/ 185 w 450"/>
                <a:gd name="T43" fmla="*/ 828 h 841"/>
                <a:gd name="T44" fmla="*/ 167 w 450"/>
                <a:gd name="T45" fmla="*/ 820 h 841"/>
                <a:gd name="T46" fmla="*/ 150 w 450"/>
                <a:gd name="T47" fmla="*/ 812 h 841"/>
                <a:gd name="T48" fmla="*/ 136 w 450"/>
                <a:gd name="T49" fmla="*/ 800 h 841"/>
                <a:gd name="T50" fmla="*/ 122 w 450"/>
                <a:gd name="T51" fmla="*/ 788 h 841"/>
                <a:gd name="T52" fmla="*/ 122 w 450"/>
                <a:gd name="T53" fmla="*/ 788 h 841"/>
                <a:gd name="T54" fmla="*/ 111 w 450"/>
                <a:gd name="T55" fmla="*/ 774 h 841"/>
                <a:gd name="T56" fmla="*/ 102 w 450"/>
                <a:gd name="T57" fmla="*/ 757 h 841"/>
                <a:gd name="T58" fmla="*/ 94 w 450"/>
                <a:gd name="T59" fmla="*/ 739 h 841"/>
                <a:gd name="T60" fmla="*/ 87 w 450"/>
                <a:gd name="T61" fmla="*/ 719 h 841"/>
                <a:gd name="T62" fmla="*/ 81 w 450"/>
                <a:gd name="T63" fmla="*/ 698 h 841"/>
                <a:gd name="T64" fmla="*/ 78 w 450"/>
                <a:gd name="T65" fmla="*/ 674 h 841"/>
                <a:gd name="T66" fmla="*/ 75 w 450"/>
                <a:gd name="T67" fmla="*/ 649 h 841"/>
                <a:gd name="T68" fmla="*/ 75 w 450"/>
                <a:gd name="T69" fmla="*/ 622 h 841"/>
                <a:gd name="T70" fmla="*/ 75 w 450"/>
                <a:gd name="T71" fmla="*/ 362 h 841"/>
                <a:gd name="T72" fmla="*/ 0 w 450"/>
                <a:gd name="T73" fmla="*/ 362 h 841"/>
                <a:gd name="T74" fmla="*/ 0 w 450"/>
                <a:gd name="T75" fmla="*/ 198 h 841"/>
                <a:gd name="T76" fmla="*/ 75 w 450"/>
                <a:gd name="T77" fmla="*/ 198 h 841"/>
                <a:gd name="T78" fmla="*/ 75 w 450"/>
                <a:gd name="T79" fmla="*/ 35 h 841"/>
                <a:gd name="T80" fmla="*/ 290 w 450"/>
                <a:gd name="T81" fmla="*/ 0 h 841"/>
                <a:gd name="T82" fmla="*/ 290 w 450"/>
                <a:gd name="T83" fmla="*/ 198 h 841"/>
                <a:gd name="T84" fmla="*/ 426 w 450"/>
                <a:gd name="T85" fmla="*/ 198 h 841"/>
                <a:gd name="T86" fmla="*/ 426 w 450"/>
                <a:gd name="T87" fmla="*/ 362 h 841"/>
                <a:gd name="T88" fmla="*/ 290 w 450"/>
                <a:gd name="T89" fmla="*/ 362 h 841"/>
                <a:gd name="T90" fmla="*/ 290 w 450"/>
                <a:gd name="T91" fmla="*/ 608 h 841"/>
                <a:gd name="T92" fmla="*/ 290 w 450"/>
                <a:gd name="T93" fmla="*/ 608 h 841"/>
                <a:gd name="T94" fmla="*/ 290 w 450"/>
                <a:gd name="T95" fmla="*/ 622 h 841"/>
                <a:gd name="T96" fmla="*/ 293 w 450"/>
                <a:gd name="T97" fmla="*/ 635 h 841"/>
                <a:gd name="T98" fmla="*/ 298 w 450"/>
                <a:gd name="T99" fmla="*/ 645 h 841"/>
                <a:gd name="T100" fmla="*/ 304 w 450"/>
                <a:gd name="T101" fmla="*/ 653 h 841"/>
                <a:gd name="T102" fmla="*/ 312 w 450"/>
                <a:gd name="T103" fmla="*/ 660 h 841"/>
                <a:gd name="T104" fmla="*/ 322 w 450"/>
                <a:gd name="T105" fmla="*/ 666 h 841"/>
                <a:gd name="T106" fmla="*/ 333 w 450"/>
                <a:gd name="T107" fmla="*/ 669 h 841"/>
                <a:gd name="T108" fmla="*/ 347 w 450"/>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841">
                  <a:moveTo>
                    <a:pt x="347" y="669"/>
                  </a:moveTo>
                  <a:lnTo>
                    <a:pt x="347" y="669"/>
                  </a:lnTo>
                  <a:lnTo>
                    <a:pt x="370" y="667"/>
                  </a:lnTo>
                  <a:lnTo>
                    <a:pt x="395" y="664"/>
                  </a:lnTo>
                  <a:lnTo>
                    <a:pt x="422" y="657"/>
                  </a:lnTo>
                  <a:lnTo>
                    <a:pt x="450" y="648"/>
                  </a:lnTo>
                  <a:lnTo>
                    <a:pt x="450" y="806"/>
                  </a:lnTo>
                  <a:lnTo>
                    <a:pt x="450" y="806"/>
                  </a:lnTo>
                  <a:lnTo>
                    <a:pt x="429" y="816"/>
                  </a:lnTo>
                  <a:lnTo>
                    <a:pt x="408" y="823"/>
                  </a:lnTo>
                  <a:lnTo>
                    <a:pt x="388" y="828"/>
                  </a:lnTo>
                  <a:lnTo>
                    <a:pt x="368" y="834"/>
                  </a:lnTo>
                  <a:lnTo>
                    <a:pt x="368" y="834"/>
                  </a:lnTo>
                  <a:lnTo>
                    <a:pt x="347" y="837"/>
                  </a:lnTo>
                  <a:lnTo>
                    <a:pt x="326" y="840"/>
                  </a:lnTo>
                  <a:lnTo>
                    <a:pt x="303" y="841"/>
                  </a:lnTo>
                  <a:lnTo>
                    <a:pt x="277" y="841"/>
                  </a:lnTo>
                  <a:lnTo>
                    <a:pt x="277" y="841"/>
                  </a:lnTo>
                  <a:lnTo>
                    <a:pt x="251" y="841"/>
                  </a:lnTo>
                  <a:lnTo>
                    <a:pt x="227" y="838"/>
                  </a:lnTo>
                  <a:lnTo>
                    <a:pt x="204" y="834"/>
                  </a:lnTo>
                  <a:lnTo>
                    <a:pt x="185" y="828"/>
                  </a:lnTo>
                  <a:lnTo>
                    <a:pt x="167" y="820"/>
                  </a:lnTo>
                  <a:lnTo>
                    <a:pt x="150" y="812"/>
                  </a:lnTo>
                  <a:lnTo>
                    <a:pt x="136" y="800"/>
                  </a:lnTo>
                  <a:lnTo>
                    <a:pt x="122" y="788"/>
                  </a:lnTo>
                  <a:lnTo>
                    <a:pt x="122" y="788"/>
                  </a:lnTo>
                  <a:lnTo>
                    <a:pt x="111" y="774"/>
                  </a:lnTo>
                  <a:lnTo>
                    <a:pt x="102" y="757"/>
                  </a:lnTo>
                  <a:lnTo>
                    <a:pt x="94" y="739"/>
                  </a:lnTo>
                  <a:lnTo>
                    <a:pt x="87" y="719"/>
                  </a:lnTo>
                  <a:lnTo>
                    <a:pt x="81" y="698"/>
                  </a:lnTo>
                  <a:lnTo>
                    <a:pt x="78" y="674"/>
                  </a:lnTo>
                  <a:lnTo>
                    <a:pt x="75" y="649"/>
                  </a:lnTo>
                  <a:lnTo>
                    <a:pt x="75" y="622"/>
                  </a:lnTo>
                  <a:lnTo>
                    <a:pt x="75" y="362"/>
                  </a:lnTo>
                  <a:lnTo>
                    <a:pt x="0" y="362"/>
                  </a:lnTo>
                  <a:lnTo>
                    <a:pt x="0" y="198"/>
                  </a:lnTo>
                  <a:lnTo>
                    <a:pt x="75" y="198"/>
                  </a:lnTo>
                  <a:lnTo>
                    <a:pt x="75" y="35"/>
                  </a:lnTo>
                  <a:lnTo>
                    <a:pt x="290" y="0"/>
                  </a:lnTo>
                  <a:lnTo>
                    <a:pt x="290" y="198"/>
                  </a:lnTo>
                  <a:lnTo>
                    <a:pt x="426" y="198"/>
                  </a:lnTo>
                  <a:lnTo>
                    <a:pt x="426" y="362"/>
                  </a:lnTo>
                  <a:lnTo>
                    <a:pt x="290" y="362"/>
                  </a:lnTo>
                  <a:lnTo>
                    <a:pt x="290" y="608"/>
                  </a:lnTo>
                  <a:lnTo>
                    <a:pt x="290" y="608"/>
                  </a:lnTo>
                  <a:lnTo>
                    <a:pt x="290" y="622"/>
                  </a:lnTo>
                  <a:lnTo>
                    <a:pt x="293" y="635"/>
                  </a:lnTo>
                  <a:lnTo>
                    <a:pt x="298" y="645"/>
                  </a:lnTo>
                  <a:lnTo>
                    <a:pt x="304" y="653"/>
                  </a:lnTo>
                  <a:lnTo>
                    <a:pt x="312" y="660"/>
                  </a:lnTo>
                  <a:lnTo>
                    <a:pt x="322" y="666"/>
                  </a:lnTo>
                  <a:lnTo>
                    <a:pt x="333" y="669"/>
                  </a:lnTo>
                  <a:lnTo>
                    <a:pt x="347" y="6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9">
              <a:extLst>
                <a:ext uri="{FF2B5EF4-FFF2-40B4-BE49-F238E27FC236}">
                  <a16:creationId xmlns:a16="http://schemas.microsoft.com/office/drawing/2014/main" id="{16757A8E-371C-4807-978C-37208783D1B4}"/>
                </a:ext>
              </a:extLst>
            </p:cNvPr>
            <p:cNvSpPr>
              <a:spLocks/>
            </p:cNvSpPr>
            <p:nvPr/>
          </p:nvSpPr>
          <p:spPr bwMode="auto">
            <a:xfrm>
              <a:off x="4299" y="1638"/>
              <a:ext cx="225" cy="420"/>
            </a:xfrm>
            <a:custGeom>
              <a:avLst/>
              <a:gdLst>
                <a:gd name="T0" fmla="*/ 347 w 450"/>
                <a:gd name="T1" fmla="*/ 669 h 841"/>
                <a:gd name="T2" fmla="*/ 347 w 450"/>
                <a:gd name="T3" fmla="*/ 669 h 841"/>
                <a:gd name="T4" fmla="*/ 370 w 450"/>
                <a:gd name="T5" fmla="*/ 667 h 841"/>
                <a:gd name="T6" fmla="*/ 395 w 450"/>
                <a:gd name="T7" fmla="*/ 664 h 841"/>
                <a:gd name="T8" fmla="*/ 422 w 450"/>
                <a:gd name="T9" fmla="*/ 657 h 841"/>
                <a:gd name="T10" fmla="*/ 450 w 450"/>
                <a:gd name="T11" fmla="*/ 648 h 841"/>
                <a:gd name="T12" fmla="*/ 450 w 450"/>
                <a:gd name="T13" fmla="*/ 806 h 841"/>
                <a:gd name="T14" fmla="*/ 450 w 450"/>
                <a:gd name="T15" fmla="*/ 806 h 841"/>
                <a:gd name="T16" fmla="*/ 429 w 450"/>
                <a:gd name="T17" fmla="*/ 816 h 841"/>
                <a:gd name="T18" fmla="*/ 408 w 450"/>
                <a:gd name="T19" fmla="*/ 823 h 841"/>
                <a:gd name="T20" fmla="*/ 388 w 450"/>
                <a:gd name="T21" fmla="*/ 828 h 841"/>
                <a:gd name="T22" fmla="*/ 368 w 450"/>
                <a:gd name="T23" fmla="*/ 834 h 841"/>
                <a:gd name="T24" fmla="*/ 368 w 450"/>
                <a:gd name="T25" fmla="*/ 834 h 841"/>
                <a:gd name="T26" fmla="*/ 347 w 450"/>
                <a:gd name="T27" fmla="*/ 837 h 841"/>
                <a:gd name="T28" fmla="*/ 326 w 450"/>
                <a:gd name="T29" fmla="*/ 840 h 841"/>
                <a:gd name="T30" fmla="*/ 303 w 450"/>
                <a:gd name="T31" fmla="*/ 841 h 841"/>
                <a:gd name="T32" fmla="*/ 277 w 450"/>
                <a:gd name="T33" fmla="*/ 841 h 841"/>
                <a:gd name="T34" fmla="*/ 277 w 450"/>
                <a:gd name="T35" fmla="*/ 841 h 841"/>
                <a:gd name="T36" fmla="*/ 251 w 450"/>
                <a:gd name="T37" fmla="*/ 841 h 841"/>
                <a:gd name="T38" fmla="*/ 227 w 450"/>
                <a:gd name="T39" fmla="*/ 838 h 841"/>
                <a:gd name="T40" fmla="*/ 204 w 450"/>
                <a:gd name="T41" fmla="*/ 834 h 841"/>
                <a:gd name="T42" fmla="*/ 185 w 450"/>
                <a:gd name="T43" fmla="*/ 828 h 841"/>
                <a:gd name="T44" fmla="*/ 167 w 450"/>
                <a:gd name="T45" fmla="*/ 820 h 841"/>
                <a:gd name="T46" fmla="*/ 150 w 450"/>
                <a:gd name="T47" fmla="*/ 812 h 841"/>
                <a:gd name="T48" fmla="*/ 136 w 450"/>
                <a:gd name="T49" fmla="*/ 800 h 841"/>
                <a:gd name="T50" fmla="*/ 122 w 450"/>
                <a:gd name="T51" fmla="*/ 788 h 841"/>
                <a:gd name="T52" fmla="*/ 122 w 450"/>
                <a:gd name="T53" fmla="*/ 788 h 841"/>
                <a:gd name="T54" fmla="*/ 111 w 450"/>
                <a:gd name="T55" fmla="*/ 774 h 841"/>
                <a:gd name="T56" fmla="*/ 102 w 450"/>
                <a:gd name="T57" fmla="*/ 757 h 841"/>
                <a:gd name="T58" fmla="*/ 94 w 450"/>
                <a:gd name="T59" fmla="*/ 739 h 841"/>
                <a:gd name="T60" fmla="*/ 87 w 450"/>
                <a:gd name="T61" fmla="*/ 719 h 841"/>
                <a:gd name="T62" fmla="*/ 81 w 450"/>
                <a:gd name="T63" fmla="*/ 698 h 841"/>
                <a:gd name="T64" fmla="*/ 78 w 450"/>
                <a:gd name="T65" fmla="*/ 674 h 841"/>
                <a:gd name="T66" fmla="*/ 75 w 450"/>
                <a:gd name="T67" fmla="*/ 649 h 841"/>
                <a:gd name="T68" fmla="*/ 75 w 450"/>
                <a:gd name="T69" fmla="*/ 622 h 841"/>
                <a:gd name="T70" fmla="*/ 75 w 450"/>
                <a:gd name="T71" fmla="*/ 362 h 841"/>
                <a:gd name="T72" fmla="*/ 0 w 450"/>
                <a:gd name="T73" fmla="*/ 362 h 841"/>
                <a:gd name="T74" fmla="*/ 0 w 450"/>
                <a:gd name="T75" fmla="*/ 198 h 841"/>
                <a:gd name="T76" fmla="*/ 75 w 450"/>
                <a:gd name="T77" fmla="*/ 198 h 841"/>
                <a:gd name="T78" fmla="*/ 75 w 450"/>
                <a:gd name="T79" fmla="*/ 35 h 841"/>
                <a:gd name="T80" fmla="*/ 290 w 450"/>
                <a:gd name="T81" fmla="*/ 0 h 841"/>
                <a:gd name="T82" fmla="*/ 290 w 450"/>
                <a:gd name="T83" fmla="*/ 198 h 841"/>
                <a:gd name="T84" fmla="*/ 426 w 450"/>
                <a:gd name="T85" fmla="*/ 198 h 841"/>
                <a:gd name="T86" fmla="*/ 426 w 450"/>
                <a:gd name="T87" fmla="*/ 362 h 841"/>
                <a:gd name="T88" fmla="*/ 290 w 450"/>
                <a:gd name="T89" fmla="*/ 362 h 841"/>
                <a:gd name="T90" fmla="*/ 290 w 450"/>
                <a:gd name="T91" fmla="*/ 608 h 841"/>
                <a:gd name="T92" fmla="*/ 290 w 450"/>
                <a:gd name="T93" fmla="*/ 608 h 841"/>
                <a:gd name="T94" fmla="*/ 290 w 450"/>
                <a:gd name="T95" fmla="*/ 622 h 841"/>
                <a:gd name="T96" fmla="*/ 293 w 450"/>
                <a:gd name="T97" fmla="*/ 635 h 841"/>
                <a:gd name="T98" fmla="*/ 298 w 450"/>
                <a:gd name="T99" fmla="*/ 645 h 841"/>
                <a:gd name="T100" fmla="*/ 304 w 450"/>
                <a:gd name="T101" fmla="*/ 653 h 841"/>
                <a:gd name="T102" fmla="*/ 312 w 450"/>
                <a:gd name="T103" fmla="*/ 660 h 841"/>
                <a:gd name="T104" fmla="*/ 322 w 450"/>
                <a:gd name="T105" fmla="*/ 666 h 841"/>
                <a:gd name="T106" fmla="*/ 333 w 450"/>
                <a:gd name="T107" fmla="*/ 669 h 841"/>
                <a:gd name="T108" fmla="*/ 347 w 450"/>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841">
                  <a:moveTo>
                    <a:pt x="347" y="669"/>
                  </a:moveTo>
                  <a:lnTo>
                    <a:pt x="347" y="669"/>
                  </a:lnTo>
                  <a:lnTo>
                    <a:pt x="370" y="667"/>
                  </a:lnTo>
                  <a:lnTo>
                    <a:pt x="395" y="664"/>
                  </a:lnTo>
                  <a:lnTo>
                    <a:pt x="422" y="657"/>
                  </a:lnTo>
                  <a:lnTo>
                    <a:pt x="450" y="648"/>
                  </a:lnTo>
                  <a:lnTo>
                    <a:pt x="450" y="806"/>
                  </a:lnTo>
                  <a:lnTo>
                    <a:pt x="450" y="806"/>
                  </a:lnTo>
                  <a:lnTo>
                    <a:pt x="429" y="816"/>
                  </a:lnTo>
                  <a:lnTo>
                    <a:pt x="408" y="823"/>
                  </a:lnTo>
                  <a:lnTo>
                    <a:pt x="388" y="828"/>
                  </a:lnTo>
                  <a:lnTo>
                    <a:pt x="368" y="834"/>
                  </a:lnTo>
                  <a:lnTo>
                    <a:pt x="368" y="834"/>
                  </a:lnTo>
                  <a:lnTo>
                    <a:pt x="347" y="837"/>
                  </a:lnTo>
                  <a:lnTo>
                    <a:pt x="326" y="840"/>
                  </a:lnTo>
                  <a:lnTo>
                    <a:pt x="303" y="841"/>
                  </a:lnTo>
                  <a:lnTo>
                    <a:pt x="277" y="841"/>
                  </a:lnTo>
                  <a:lnTo>
                    <a:pt x="277" y="841"/>
                  </a:lnTo>
                  <a:lnTo>
                    <a:pt x="251" y="841"/>
                  </a:lnTo>
                  <a:lnTo>
                    <a:pt x="227" y="838"/>
                  </a:lnTo>
                  <a:lnTo>
                    <a:pt x="204" y="834"/>
                  </a:lnTo>
                  <a:lnTo>
                    <a:pt x="185" y="828"/>
                  </a:lnTo>
                  <a:lnTo>
                    <a:pt x="167" y="820"/>
                  </a:lnTo>
                  <a:lnTo>
                    <a:pt x="150" y="812"/>
                  </a:lnTo>
                  <a:lnTo>
                    <a:pt x="136" y="800"/>
                  </a:lnTo>
                  <a:lnTo>
                    <a:pt x="122" y="788"/>
                  </a:lnTo>
                  <a:lnTo>
                    <a:pt x="122" y="788"/>
                  </a:lnTo>
                  <a:lnTo>
                    <a:pt x="111" y="774"/>
                  </a:lnTo>
                  <a:lnTo>
                    <a:pt x="102" y="757"/>
                  </a:lnTo>
                  <a:lnTo>
                    <a:pt x="94" y="739"/>
                  </a:lnTo>
                  <a:lnTo>
                    <a:pt x="87" y="719"/>
                  </a:lnTo>
                  <a:lnTo>
                    <a:pt x="81" y="698"/>
                  </a:lnTo>
                  <a:lnTo>
                    <a:pt x="78" y="674"/>
                  </a:lnTo>
                  <a:lnTo>
                    <a:pt x="75" y="649"/>
                  </a:lnTo>
                  <a:lnTo>
                    <a:pt x="75" y="622"/>
                  </a:lnTo>
                  <a:lnTo>
                    <a:pt x="75" y="362"/>
                  </a:lnTo>
                  <a:lnTo>
                    <a:pt x="0" y="362"/>
                  </a:lnTo>
                  <a:lnTo>
                    <a:pt x="0" y="198"/>
                  </a:lnTo>
                  <a:lnTo>
                    <a:pt x="75" y="198"/>
                  </a:lnTo>
                  <a:lnTo>
                    <a:pt x="75" y="35"/>
                  </a:lnTo>
                  <a:lnTo>
                    <a:pt x="290" y="0"/>
                  </a:lnTo>
                  <a:lnTo>
                    <a:pt x="290" y="198"/>
                  </a:lnTo>
                  <a:lnTo>
                    <a:pt x="426" y="198"/>
                  </a:lnTo>
                  <a:lnTo>
                    <a:pt x="426" y="362"/>
                  </a:lnTo>
                  <a:lnTo>
                    <a:pt x="290" y="362"/>
                  </a:lnTo>
                  <a:lnTo>
                    <a:pt x="290" y="608"/>
                  </a:lnTo>
                  <a:lnTo>
                    <a:pt x="290" y="608"/>
                  </a:lnTo>
                  <a:lnTo>
                    <a:pt x="290" y="622"/>
                  </a:lnTo>
                  <a:lnTo>
                    <a:pt x="293" y="635"/>
                  </a:lnTo>
                  <a:lnTo>
                    <a:pt x="298" y="645"/>
                  </a:lnTo>
                  <a:lnTo>
                    <a:pt x="304" y="653"/>
                  </a:lnTo>
                  <a:lnTo>
                    <a:pt x="312" y="660"/>
                  </a:lnTo>
                  <a:lnTo>
                    <a:pt x="322" y="666"/>
                  </a:lnTo>
                  <a:lnTo>
                    <a:pt x="333" y="669"/>
                  </a:lnTo>
                  <a:lnTo>
                    <a:pt x="347" y="6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0">
              <a:extLst>
                <a:ext uri="{FF2B5EF4-FFF2-40B4-BE49-F238E27FC236}">
                  <a16:creationId xmlns:a16="http://schemas.microsoft.com/office/drawing/2014/main" id="{7D908099-39E5-42D4-B0E0-97BF31DF80C2}"/>
                </a:ext>
              </a:extLst>
            </p:cNvPr>
            <p:cNvSpPr>
              <a:spLocks noEditPoints="1"/>
            </p:cNvSpPr>
            <p:nvPr/>
          </p:nvSpPr>
          <p:spPr bwMode="auto">
            <a:xfrm>
              <a:off x="4550" y="1731"/>
              <a:ext cx="297" cy="327"/>
            </a:xfrm>
            <a:custGeom>
              <a:avLst/>
              <a:gdLst>
                <a:gd name="T0" fmla="*/ 499 w 596"/>
                <a:gd name="T1" fmla="*/ 58 h 655"/>
                <a:gd name="T2" fmla="*/ 428 w 596"/>
                <a:gd name="T3" fmla="*/ 20 h 655"/>
                <a:gd name="T4" fmla="*/ 338 w 596"/>
                <a:gd name="T5" fmla="*/ 2 h 655"/>
                <a:gd name="T6" fmla="*/ 268 w 596"/>
                <a:gd name="T7" fmla="*/ 2 h 655"/>
                <a:gd name="T8" fmla="*/ 174 w 596"/>
                <a:gd name="T9" fmla="*/ 23 h 655"/>
                <a:gd name="T10" fmla="*/ 122 w 596"/>
                <a:gd name="T11" fmla="*/ 50 h 655"/>
                <a:gd name="T12" fmla="*/ 88 w 596"/>
                <a:gd name="T13" fmla="*/ 76 h 655"/>
                <a:gd name="T14" fmla="*/ 69 w 596"/>
                <a:gd name="T15" fmla="*/ 97 h 655"/>
                <a:gd name="T16" fmla="*/ 31 w 596"/>
                <a:gd name="T17" fmla="*/ 162 h 655"/>
                <a:gd name="T18" fmla="*/ 4 w 596"/>
                <a:gd name="T19" fmla="*/ 257 h 655"/>
                <a:gd name="T20" fmla="*/ 0 w 596"/>
                <a:gd name="T21" fmla="*/ 333 h 655"/>
                <a:gd name="T22" fmla="*/ 11 w 596"/>
                <a:gd name="T23" fmla="*/ 439 h 655"/>
                <a:gd name="T24" fmla="*/ 39 w 596"/>
                <a:gd name="T25" fmla="*/ 512 h 655"/>
                <a:gd name="T26" fmla="*/ 65 w 596"/>
                <a:gd name="T27" fmla="*/ 550 h 655"/>
                <a:gd name="T28" fmla="*/ 84 w 596"/>
                <a:gd name="T29" fmla="*/ 572 h 655"/>
                <a:gd name="T30" fmla="*/ 119 w 596"/>
                <a:gd name="T31" fmla="*/ 600 h 655"/>
                <a:gd name="T32" fmla="*/ 188 w 596"/>
                <a:gd name="T33" fmla="*/ 634 h 655"/>
                <a:gd name="T34" fmla="*/ 287 w 596"/>
                <a:gd name="T35" fmla="*/ 654 h 655"/>
                <a:gd name="T36" fmla="*/ 360 w 596"/>
                <a:gd name="T37" fmla="*/ 655 h 655"/>
                <a:gd name="T38" fmla="*/ 451 w 596"/>
                <a:gd name="T39" fmla="*/ 645 h 655"/>
                <a:gd name="T40" fmla="*/ 503 w 596"/>
                <a:gd name="T41" fmla="*/ 631 h 655"/>
                <a:gd name="T42" fmla="*/ 522 w 596"/>
                <a:gd name="T43" fmla="*/ 467 h 655"/>
                <a:gd name="T44" fmla="*/ 453 w 596"/>
                <a:gd name="T45" fmla="*/ 490 h 655"/>
                <a:gd name="T46" fmla="*/ 404 w 596"/>
                <a:gd name="T47" fmla="*/ 498 h 655"/>
                <a:gd name="T48" fmla="*/ 351 w 596"/>
                <a:gd name="T49" fmla="*/ 501 h 655"/>
                <a:gd name="T50" fmla="*/ 307 w 596"/>
                <a:gd name="T51" fmla="*/ 497 h 655"/>
                <a:gd name="T52" fmla="*/ 272 w 596"/>
                <a:gd name="T53" fmla="*/ 484 h 655"/>
                <a:gd name="T54" fmla="*/ 252 w 596"/>
                <a:gd name="T55" fmla="*/ 470 h 655"/>
                <a:gd name="T56" fmla="*/ 230 w 596"/>
                <a:gd name="T57" fmla="*/ 445 h 655"/>
                <a:gd name="T58" fmla="*/ 217 w 596"/>
                <a:gd name="T59" fmla="*/ 413 h 655"/>
                <a:gd name="T60" fmla="*/ 596 w 596"/>
                <a:gd name="T61" fmla="*/ 387 h 655"/>
                <a:gd name="T62" fmla="*/ 594 w 596"/>
                <a:gd name="T63" fmla="*/ 256 h 655"/>
                <a:gd name="T64" fmla="*/ 576 w 596"/>
                <a:gd name="T65" fmla="*/ 166 h 655"/>
                <a:gd name="T66" fmla="*/ 537 w 596"/>
                <a:gd name="T67" fmla="*/ 96 h 655"/>
                <a:gd name="T68" fmla="*/ 219 w 596"/>
                <a:gd name="T69" fmla="*/ 250 h 655"/>
                <a:gd name="T70" fmla="*/ 229 w 596"/>
                <a:gd name="T71" fmla="*/ 205 h 655"/>
                <a:gd name="T72" fmla="*/ 243 w 596"/>
                <a:gd name="T73" fmla="*/ 180 h 655"/>
                <a:gd name="T74" fmla="*/ 262 w 596"/>
                <a:gd name="T75" fmla="*/ 163 h 655"/>
                <a:gd name="T76" fmla="*/ 293 w 596"/>
                <a:gd name="T77" fmla="*/ 150 h 655"/>
                <a:gd name="T78" fmla="*/ 321 w 596"/>
                <a:gd name="T79" fmla="*/ 150 h 655"/>
                <a:gd name="T80" fmla="*/ 349 w 596"/>
                <a:gd name="T81" fmla="*/ 156 h 655"/>
                <a:gd name="T82" fmla="*/ 370 w 596"/>
                <a:gd name="T83" fmla="*/ 170 h 655"/>
                <a:gd name="T84" fmla="*/ 383 w 596"/>
                <a:gd name="T85" fmla="*/ 184 h 655"/>
                <a:gd name="T86" fmla="*/ 395 w 596"/>
                <a:gd name="T87" fmla="*/ 209 h 655"/>
                <a:gd name="T88" fmla="*/ 402 w 596"/>
                <a:gd name="T89" fmla="*/ 25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6" h="655">
                  <a:moveTo>
                    <a:pt x="520" y="76"/>
                  </a:moveTo>
                  <a:lnTo>
                    <a:pt x="520" y="76"/>
                  </a:lnTo>
                  <a:lnTo>
                    <a:pt x="499" y="58"/>
                  </a:lnTo>
                  <a:lnTo>
                    <a:pt x="478" y="43"/>
                  </a:lnTo>
                  <a:lnTo>
                    <a:pt x="454" y="30"/>
                  </a:lnTo>
                  <a:lnTo>
                    <a:pt x="428" y="20"/>
                  </a:lnTo>
                  <a:lnTo>
                    <a:pt x="400" y="12"/>
                  </a:lnTo>
                  <a:lnTo>
                    <a:pt x="370" y="6"/>
                  </a:lnTo>
                  <a:lnTo>
                    <a:pt x="338" y="2"/>
                  </a:lnTo>
                  <a:lnTo>
                    <a:pt x="304" y="0"/>
                  </a:lnTo>
                  <a:lnTo>
                    <a:pt x="304" y="0"/>
                  </a:lnTo>
                  <a:lnTo>
                    <a:pt x="268" y="2"/>
                  </a:lnTo>
                  <a:lnTo>
                    <a:pt x="236" y="6"/>
                  </a:lnTo>
                  <a:lnTo>
                    <a:pt x="203" y="13"/>
                  </a:lnTo>
                  <a:lnTo>
                    <a:pt x="174" y="23"/>
                  </a:lnTo>
                  <a:lnTo>
                    <a:pt x="147" y="34"/>
                  </a:lnTo>
                  <a:lnTo>
                    <a:pt x="135" y="41"/>
                  </a:lnTo>
                  <a:lnTo>
                    <a:pt x="122" y="50"/>
                  </a:lnTo>
                  <a:lnTo>
                    <a:pt x="111" y="58"/>
                  </a:lnTo>
                  <a:lnTo>
                    <a:pt x="100" y="66"/>
                  </a:lnTo>
                  <a:lnTo>
                    <a:pt x="88" y="76"/>
                  </a:lnTo>
                  <a:lnTo>
                    <a:pt x="79" y="87"/>
                  </a:lnTo>
                  <a:lnTo>
                    <a:pt x="79" y="87"/>
                  </a:lnTo>
                  <a:lnTo>
                    <a:pt x="69" y="97"/>
                  </a:lnTo>
                  <a:lnTo>
                    <a:pt x="60" y="110"/>
                  </a:lnTo>
                  <a:lnTo>
                    <a:pt x="44" y="134"/>
                  </a:lnTo>
                  <a:lnTo>
                    <a:pt x="31" y="162"/>
                  </a:lnTo>
                  <a:lnTo>
                    <a:pt x="20" y="191"/>
                  </a:lnTo>
                  <a:lnTo>
                    <a:pt x="10" y="223"/>
                  </a:lnTo>
                  <a:lnTo>
                    <a:pt x="4" y="257"/>
                  </a:lnTo>
                  <a:lnTo>
                    <a:pt x="0" y="293"/>
                  </a:lnTo>
                  <a:lnTo>
                    <a:pt x="0" y="333"/>
                  </a:lnTo>
                  <a:lnTo>
                    <a:pt x="0" y="333"/>
                  </a:lnTo>
                  <a:lnTo>
                    <a:pt x="2" y="371"/>
                  </a:lnTo>
                  <a:lnTo>
                    <a:pt x="4" y="406"/>
                  </a:lnTo>
                  <a:lnTo>
                    <a:pt x="11" y="439"/>
                  </a:lnTo>
                  <a:lnTo>
                    <a:pt x="21" y="470"/>
                  </a:lnTo>
                  <a:lnTo>
                    <a:pt x="32" y="498"/>
                  </a:lnTo>
                  <a:lnTo>
                    <a:pt x="39" y="512"/>
                  </a:lnTo>
                  <a:lnTo>
                    <a:pt x="48" y="525"/>
                  </a:lnTo>
                  <a:lnTo>
                    <a:pt x="56" y="537"/>
                  </a:lnTo>
                  <a:lnTo>
                    <a:pt x="65" y="550"/>
                  </a:lnTo>
                  <a:lnTo>
                    <a:pt x="74" y="561"/>
                  </a:lnTo>
                  <a:lnTo>
                    <a:pt x="84" y="572"/>
                  </a:lnTo>
                  <a:lnTo>
                    <a:pt x="84" y="572"/>
                  </a:lnTo>
                  <a:lnTo>
                    <a:pt x="95" y="582"/>
                  </a:lnTo>
                  <a:lnTo>
                    <a:pt x="107" y="592"/>
                  </a:lnTo>
                  <a:lnTo>
                    <a:pt x="119" y="600"/>
                  </a:lnTo>
                  <a:lnTo>
                    <a:pt x="132" y="609"/>
                  </a:lnTo>
                  <a:lnTo>
                    <a:pt x="159" y="623"/>
                  </a:lnTo>
                  <a:lnTo>
                    <a:pt x="188" y="634"/>
                  </a:lnTo>
                  <a:lnTo>
                    <a:pt x="219" y="644"/>
                  </a:lnTo>
                  <a:lnTo>
                    <a:pt x="251" y="651"/>
                  </a:lnTo>
                  <a:lnTo>
                    <a:pt x="287" y="654"/>
                  </a:lnTo>
                  <a:lnTo>
                    <a:pt x="324" y="655"/>
                  </a:lnTo>
                  <a:lnTo>
                    <a:pt x="324" y="655"/>
                  </a:lnTo>
                  <a:lnTo>
                    <a:pt x="360" y="655"/>
                  </a:lnTo>
                  <a:lnTo>
                    <a:pt x="393" y="654"/>
                  </a:lnTo>
                  <a:lnTo>
                    <a:pt x="423" y="649"/>
                  </a:lnTo>
                  <a:lnTo>
                    <a:pt x="451" y="645"/>
                  </a:lnTo>
                  <a:lnTo>
                    <a:pt x="451" y="645"/>
                  </a:lnTo>
                  <a:lnTo>
                    <a:pt x="478" y="640"/>
                  </a:lnTo>
                  <a:lnTo>
                    <a:pt x="503" y="631"/>
                  </a:lnTo>
                  <a:lnTo>
                    <a:pt x="530" y="621"/>
                  </a:lnTo>
                  <a:lnTo>
                    <a:pt x="555" y="610"/>
                  </a:lnTo>
                  <a:lnTo>
                    <a:pt x="522" y="467"/>
                  </a:lnTo>
                  <a:lnTo>
                    <a:pt x="522"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2" y="470"/>
                  </a:lnTo>
                  <a:lnTo>
                    <a:pt x="252" y="470"/>
                  </a:lnTo>
                  <a:lnTo>
                    <a:pt x="244" y="463"/>
                  </a:lnTo>
                  <a:lnTo>
                    <a:pt x="237" y="455"/>
                  </a:lnTo>
                  <a:lnTo>
                    <a:pt x="230" y="445"/>
                  </a:lnTo>
                  <a:lnTo>
                    <a:pt x="226" y="435"/>
                  </a:lnTo>
                  <a:lnTo>
                    <a:pt x="222" y="424"/>
                  </a:lnTo>
                  <a:lnTo>
                    <a:pt x="217" y="413"/>
                  </a:lnTo>
                  <a:lnTo>
                    <a:pt x="216" y="400"/>
                  </a:lnTo>
                  <a:lnTo>
                    <a:pt x="215" y="387"/>
                  </a:lnTo>
                  <a:lnTo>
                    <a:pt x="596" y="387"/>
                  </a:lnTo>
                  <a:lnTo>
                    <a:pt x="596" y="291"/>
                  </a:lnTo>
                  <a:lnTo>
                    <a:pt x="596" y="291"/>
                  </a:lnTo>
                  <a:lnTo>
                    <a:pt x="594" y="256"/>
                  </a:lnTo>
                  <a:lnTo>
                    <a:pt x="590" y="225"/>
                  </a:lnTo>
                  <a:lnTo>
                    <a:pt x="585" y="194"/>
                  </a:lnTo>
                  <a:lnTo>
                    <a:pt x="576" y="166"/>
                  </a:lnTo>
                  <a:lnTo>
                    <a:pt x="566" y="141"/>
                  </a:lnTo>
                  <a:lnTo>
                    <a:pt x="552" y="117"/>
                  </a:lnTo>
                  <a:lnTo>
                    <a:pt x="537" y="96"/>
                  </a:lnTo>
                  <a:lnTo>
                    <a:pt x="520" y="76"/>
                  </a:lnTo>
                  <a:close/>
                  <a:moveTo>
                    <a:pt x="219" y="250"/>
                  </a:moveTo>
                  <a:lnTo>
                    <a:pt x="219" y="250"/>
                  </a:lnTo>
                  <a:lnTo>
                    <a:pt x="223" y="226"/>
                  </a:lnTo>
                  <a:lnTo>
                    <a:pt x="226" y="215"/>
                  </a:lnTo>
                  <a:lnTo>
                    <a:pt x="229" y="205"/>
                  </a:lnTo>
                  <a:lnTo>
                    <a:pt x="233" y="195"/>
                  </a:lnTo>
                  <a:lnTo>
                    <a:pt x="237" y="188"/>
                  </a:lnTo>
                  <a:lnTo>
                    <a:pt x="243" y="180"/>
                  </a:lnTo>
                  <a:lnTo>
                    <a:pt x="248" y="174"/>
                  </a:lnTo>
                  <a:lnTo>
                    <a:pt x="248" y="174"/>
                  </a:lnTo>
                  <a:lnTo>
                    <a:pt x="262" y="163"/>
                  </a:lnTo>
                  <a:lnTo>
                    <a:pt x="269" y="159"/>
                  </a:lnTo>
                  <a:lnTo>
                    <a:pt x="278" y="156"/>
                  </a:lnTo>
                  <a:lnTo>
                    <a:pt x="293" y="150"/>
                  </a:lnTo>
                  <a:lnTo>
                    <a:pt x="311" y="149"/>
                  </a:lnTo>
                  <a:lnTo>
                    <a:pt x="311" y="149"/>
                  </a:lnTo>
                  <a:lnTo>
                    <a:pt x="321" y="150"/>
                  </a:lnTo>
                  <a:lnTo>
                    <a:pt x="331" y="152"/>
                  </a:lnTo>
                  <a:lnTo>
                    <a:pt x="341" y="153"/>
                  </a:lnTo>
                  <a:lnTo>
                    <a:pt x="349" y="156"/>
                  </a:lnTo>
                  <a:lnTo>
                    <a:pt x="356" y="160"/>
                  </a:lnTo>
                  <a:lnTo>
                    <a:pt x="363" y="164"/>
                  </a:lnTo>
                  <a:lnTo>
                    <a:pt x="370" y="170"/>
                  </a:lnTo>
                  <a:lnTo>
                    <a:pt x="377" y="177"/>
                  </a:lnTo>
                  <a:lnTo>
                    <a:pt x="377" y="177"/>
                  </a:lnTo>
                  <a:lnTo>
                    <a:pt x="383" y="184"/>
                  </a:lnTo>
                  <a:lnTo>
                    <a:pt x="387" y="191"/>
                  </a:lnTo>
                  <a:lnTo>
                    <a:pt x="391" y="199"/>
                  </a:lnTo>
                  <a:lnTo>
                    <a:pt x="395" y="209"/>
                  </a:lnTo>
                  <a:lnTo>
                    <a:pt x="398" y="218"/>
                  </a:lnTo>
                  <a:lnTo>
                    <a:pt x="400" y="229"/>
                  </a:lnTo>
                  <a:lnTo>
                    <a:pt x="402" y="250"/>
                  </a:lnTo>
                  <a:lnTo>
                    <a:pt x="219" y="2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1">
              <a:extLst>
                <a:ext uri="{FF2B5EF4-FFF2-40B4-BE49-F238E27FC236}">
                  <a16:creationId xmlns:a16="http://schemas.microsoft.com/office/drawing/2014/main" id="{24C98ABA-BBCC-4EE7-8FCE-1BA9782AE333}"/>
                </a:ext>
              </a:extLst>
            </p:cNvPr>
            <p:cNvSpPr>
              <a:spLocks/>
            </p:cNvSpPr>
            <p:nvPr/>
          </p:nvSpPr>
          <p:spPr bwMode="auto">
            <a:xfrm>
              <a:off x="4550" y="1731"/>
              <a:ext cx="297" cy="327"/>
            </a:xfrm>
            <a:custGeom>
              <a:avLst/>
              <a:gdLst>
                <a:gd name="T0" fmla="*/ 520 w 596"/>
                <a:gd name="T1" fmla="*/ 76 h 655"/>
                <a:gd name="T2" fmla="*/ 478 w 596"/>
                <a:gd name="T3" fmla="*/ 43 h 655"/>
                <a:gd name="T4" fmla="*/ 428 w 596"/>
                <a:gd name="T5" fmla="*/ 20 h 655"/>
                <a:gd name="T6" fmla="*/ 370 w 596"/>
                <a:gd name="T7" fmla="*/ 6 h 655"/>
                <a:gd name="T8" fmla="*/ 304 w 596"/>
                <a:gd name="T9" fmla="*/ 0 h 655"/>
                <a:gd name="T10" fmla="*/ 268 w 596"/>
                <a:gd name="T11" fmla="*/ 2 h 655"/>
                <a:gd name="T12" fmla="*/ 203 w 596"/>
                <a:gd name="T13" fmla="*/ 13 h 655"/>
                <a:gd name="T14" fmla="*/ 147 w 596"/>
                <a:gd name="T15" fmla="*/ 34 h 655"/>
                <a:gd name="T16" fmla="*/ 122 w 596"/>
                <a:gd name="T17" fmla="*/ 50 h 655"/>
                <a:gd name="T18" fmla="*/ 100 w 596"/>
                <a:gd name="T19" fmla="*/ 66 h 655"/>
                <a:gd name="T20" fmla="*/ 79 w 596"/>
                <a:gd name="T21" fmla="*/ 87 h 655"/>
                <a:gd name="T22" fmla="*/ 69 w 596"/>
                <a:gd name="T23" fmla="*/ 97 h 655"/>
                <a:gd name="T24" fmla="*/ 44 w 596"/>
                <a:gd name="T25" fmla="*/ 134 h 655"/>
                <a:gd name="T26" fmla="*/ 20 w 596"/>
                <a:gd name="T27" fmla="*/ 191 h 655"/>
                <a:gd name="T28" fmla="*/ 4 w 596"/>
                <a:gd name="T29" fmla="*/ 257 h 655"/>
                <a:gd name="T30" fmla="*/ 0 w 596"/>
                <a:gd name="T31" fmla="*/ 333 h 655"/>
                <a:gd name="T32" fmla="*/ 2 w 596"/>
                <a:gd name="T33" fmla="*/ 371 h 655"/>
                <a:gd name="T34" fmla="*/ 11 w 596"/>
                <a:gd name="T35" fmla="*/ 439 h 655"/>
                <a:gd name="T36" fmla="*/ 32 w 596"/>
                <a:gd name="T37" fmla="*/ 498 h 655"/>
                <a:gd name="T38" fmla="*/ 48 w 596"/>
                <a:gd name="T39" fmla="*/ 525 h 655"/>
                <a:gd name="T40" fmla="*/ 65 w 596"/>
                <a:gd name="T41" fmla="*/ 550 h 655"/>
                <a:gd name="T42" fmla="*/ 84 w 596"/>
                <a:gd name="T43" fmla="*/ 572 h 655"/>
                <a:gd name="T44" fmla="*/ 95 w 596"/>
                <a:gd name="T45" fmla="*/ 582 h 655"/>
                <a:gd name="T46" fmla="*/ 119 w 596"/>
                <a:gd name="T47" fmla="*/ 600 h 655"/>
                <a:gd name="T48" fmla="*/ 159 w 596"/>
                <a:gd name="T49" fmla="*/ 623 h 655"/>
                <a:gd name="T50" fmla="*/ 219 w 596"/>
                <a:gd name="T51" fmla="*/ 644 h 655"/>
                <a:gd name="T52" fmla="*/ 287 w 596"/>
                <a:gd name="T53" fmla="*/ 654 h 655"/>
                <a:gd name="T54" fmla="*/ 324 w 596"/>
                <a:gd name="T55" fmla="*/ 655 h 655"/>
                <a:gd name="T56" fmla="*/ 393 w 596"/>
                <a:gd name="T57" fmla="*/ 654 h 655"/>
                <a:gd name="T58" fmla="*/ 451 w 596"/>
                <a:gd name="T59" fmla="*/ 645 h 655"/>
                <a:gd name="T60" fmla="*/ 478 w 596"/>
                <a:gd name="T61" fmla="*/ 640 h 655"/>
                <a:gd name="T62" fmla="*/ 530 w 596"/>
                <a:gd name="T63" fmla="*/ 621 h 655"/>
                <a:gd name="T64" fmla="*/ 522 w 596"/>
                <a:gd name="T65" fmla="*/ 467 h 655"/>
                <a:gd name="T66" fmla="*/ 487 w 596"/>
                <a:gd name="T67" fmla="*/ 480 h 655"/>
                <a:gd name="T68" fmla="*/ 453 w 596"/>
                <a:gd name="T69" fmla="*/ 490 h 655"/>
                <a:gd name="T70" fmla="*/ 404 w 596"/>
                <a:gd name="T71" fmla="*/ 498 h 655"/>
                <a:gd name="T72" fmla="*/ 351 w 596"/>
                <a:gd name="T73" fmla="*/ 501 h 655"/>
                <a:gd name="T74" fmla="*/ 335 w 596"/>
                <a:gd name="T75" fmla="*/ 499 h 655"/>
                <a:gd name="T76" fmla="*/ 307 w 596"/>
                <a:gd name="T77" fmla="*/ 497 h 655"/>
                <a:gd name="T78" fmla="*/ 283 w 596"/>
                <a:gd name="T79" fmla="*/ 488 h 655"/>
                <a:gd name="T80" fmla="*/ 262 w 596"/>
                <a:gd name="T81" fmla="*/ 477 h 655"/>
                <a:gd name="T82" fmla="*/ 252 w 596"/>
                <a:gd name="T83" fmla="*/ 470 h 655"/>
                <a:gd name="T84" fmla="*/ 237 w 596"/>
                <a:gd name="T85" fmla="*/ 455 h 655"/>
                <a:gd name="T86" fmla="*/ 226 w 596"/>
                <a:gd name="T87" fmla="*/ 435 h 655"/>
                <a:gd name="T88" fmla="*/ 217 w 596"/>
                <a:gd name="T89" fmla="*/ 413 h 655"/>
                <a:gd name="T90" fmla="*/ 215 w 596"/>
                <a:gd name="T91" fmla="*/ 387 h 655"/>
                <a:gd name="T92" fmla="*/ 596 w 596"/>
                <a:gd name="T93" fmla="*/ 291 h 655"/>
                <a:gd name="T94" fmla="*/ 594 w 596"/>
                <a:gd name="T95" fmla="*/ 256 h 655"/>
                <a:gd name="T96" fmla="*/ 585 w 596"/>
                <a:gd name="T97" fmla="*/ 194 h 655"/>
                <a:gd name="T98" fmla="*/ 566 w 596"/>
                <a:gd name="T99" fmla="*/ 141 h 655"/>
                <a:gd name="T100" fmla="*/ 537 w 596"/>
                <a:gd name="T101" fmla="*/ 9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655">
                  <a:moveTo>
                    <a:pt x="520" y="76"/>
                  </a:moveTo>
                  <a:lnTo>
                    <a:pt x="520" y="76"/>
                  </a:lnTo>
                  <a:lnTo>
                    <a:pt x="499" y="58"/>
                  </a:lnTo>
                  <a:lnTo>
                    <a:pt x="478" y="43"/>
                  </a:lnTo>
                  <a:lnTo>
                    <a:pt x="454" y="30"/>
                  </a:lnTo>
                  <a:lnTo>
                    <a:pt x="428" y="20"/>
                  </a:lnTo>
                  <a:lnTo>
                    <a:pt x="400" y="12"/>
                  </a:lnTo>
                  <a:lnTo>
                    <a:pt x="370" y="6"/>
                  </a:lnTo>
                  <a:lnTo>
                    <a:pt x="338" y="2"/>
                  </a:lnTo>
                  <a:lnTo>
                    <a:pt x="304" y="0"/>
                  </a:lnTo>
                  <a:lnTo>
                    <a:pt x="304" y="0"/>
                  </a:lnTo>
                  <a:lnTo>
                    <a:pt x="268" y="2"/>
                  </a:lnTo>
                  <a:lnTo>
                    <a:pt x="236" y="6"/>
                  </a:lnTo>
                  <a:lnTo>
                    <a:pt x="203" y="13"/>
                  </a:lnTo>
                  <a:lnTo>
                    <a:pt x="174" y="23"/>
                  </a:lnTo>
                  <a:lnTo>
                    <a:pt x="147" y="34"/>
                  </a:lnTo>
                  <a:lnTo>
                    <a:pt x="135" y="41"/>
                  </a:lnTo>
                  <a:lnTo>
                    <a:pt x="122" y="50"/>
                  </a:lnTo>
                  <a:lnTo>
                    <a:pt x="111" y="58"/>
                  </a:lnTo>
                  <a:lnTo>
                    <a:pt x="100" y="66"/>
                  </a:lnTo>
                  <a:lnTo>
                    <a:pt x="88" y="76"/>
                  </a:lnTo>
                  <a:lnTo>
                    <a:pt x="79" y="87"/>
                  </a:lnTo>
                  <a:lnTo>
                    <a:pt x="79" y="87"/>
                  </a:lnTo>
                  <a:lnTo>
                    <a:pt x="69" y="97"/>
                  </a:lnTo>
                  <a:lnTo>
                    <a:pt x="60" y="110"/>
                  </a:lnTo>
                  <a:lnTo>
                    <a:pt x="44" y="134"/>
                  </a:lnTo>
                  <a:lnTo>
                    <a:pt x="31" y="162"/>
                  </a:lnTo>
                  <a:lnTo>
                    <a:pt x="20" y="191"/>
                  </a:lnTo>
                  <a:lnTo>
                    <a:pt x="10" y="223"/>
                  </a:lnTo>
                  <a:lnTo>
                    <a:pt x="4" y="257"/>
                  </a:lnTo>
                  <a:lnTo>
                    <a:pt x="0" y="293"/>
                  </a:lnTo>
                  <a:lnTo>
                    <a:pt x="0" y="333"/>
                  </a:lnTo>
                  <a:lnTo>
                    <a:pt x="0" y="333"/>
                  </a:lnTo>
                  <a:lnTo>
                    <a:pt x="2" y="371"/>
                  </a:lnTo>
                  <a:lnTo>
                    <a:pt x="4" y="406"/>
                  </a:lnTo>
                  <a:lnTo>
                    <a:pt x="11" y="439"/>
                  </a:lnTo>
                  <a:lnTo>
                    <a:pt x="21" y="470"/>
                  </a:lnTo>
                  <a:lnTo>
                    <a:pt x="32" y="498"/>
                  </a:lnTo>
                  <a:lnTo>
                    <a:pt x="39" y="512"/>
                  </a:lnTo>
                  <a:lnTo>
                    <a:pt x="48" y="525"/>
                  </a:lnTo>
                  <a:lnTo>
                    <a:pt x="56" y="537"/>
                  </a:lnTo>
                  <a:lnTo>
                    <a:pt x="65" y="550"/>
                  </a:lnTo>
                  <a:lnTo>
                    <a:pt x="74" y="561"/>
                  </a:lnTo>
                  <a:lnTo>
                    <a:pt x="84" y="572"/>
                  </a:lnTo>
                  <a:lnTo>
                    <a:pt x="84" y="572"/>
                  </a:lnTo>
                  <a:lnTo>
                    <a:pt x="95" y="582"/>
                  </a:lnTo>
                  <a:lnTo>
                    <a:pt x="107" y="592"/>
                  </a:lnTo>
                  <a:lnTo>
                    <a:pt x="119" y="600"/>
                  </a:lnTo>
                  <a:lnTo>
                    <a:pt x="132" y="609"/>
                  </a:lnTo>
                  <a:lnTo>
                    <a:pt x="159" y="623"/>
                  </a:lnTo>
                  <a:lnTo>
                    <a:pt x="188" y="634"/>
                  </a:lnTo>
                  <a:lnTo>
                    <a:pt x="219" y="644"/>
                  </a:lnTo>
                  <a:lnTo>
                    <a:pt x="251" y="651"/>
                  </a:lnTo>
                  <a:lnTo>
                    <a:pt x="287" y="654"/>
                  </a:lnTo>
                  <a:lnTo>
                    <a:pt x="324" y="655"/>
                  </a:lnTo>
                  <a:lnTo>
                    <a:pt x="324" y="655"/>
                  </a:lnTo>
                  <a:lnTo>
                    <a:pt x="360" y="655"/>
                  </a:lnTo>
                  <a:lnTo>
                    <a:pt x="393" y="654"/>
                  </a:lnTo>
                  <a:lnTo>
                    <a:pt x="423" y="649"/>
                  </a:lnTo>
                  <a:lnTo>
                    <a:pt x="451" y="645"/>
                  </a:lnTo>
                  <a:lnTo>
                    <a:pt x="451" y="645"/>
                  </a:lnTo>
                  <a:lnTo>
                    <a:pt x="478" y="640"/>
                  </a:lnTo>
                  <a:lnTo>
                    <a:pt x="503" y="631"/>
                  </a:lnTo>
                  <a:lnTo>
                    <a:pt x="530" y="621"/>
                  </a:lnTo>
                  <a:lnTo>
                    <a:pt x="555" y="610"/>
                  </a:lnTo>
                  <a:lnTo>
                    <a:pt x="522" y="467"/>
                  </a:lnTo>
                  <a:lnTo>
                    <a:pt x="522"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2" y="470"/>
                  </a:lnTo>
                  <a:lnTo>
                    <a:pt x="252" y="470"/>
                  </a:lnTo>
                  <a:lnTo>
                    <a:pt x="244" y="463"/>
                  </a:lnTo>
                  <a:lnTo>
                    <a:pt x="237" y="455"/>
                  </a:lnTo>
                  <a:lnTo>
                    <a:pt x="230" y="445"/>
                  </a:lnTo>
                  <a:lnTo>
                    <a:pt x="226" y="435"/>
                  </a:lnTo>
                  <a:lnTo>
                    <a:pt x="222" y="424"/>
                  </a:lnTo>
                  <a:lnTo>
                    <a:pt x="217" y="413"/>
                  </a:lnTo>
                  <a:lnTo>
                    <a:pt x="216" y="400"/>
                  </a:lnTo>
                  <a:lnTo>
                    <a:pt x="215" y="387"/>
                  </a:lnTo>
                  <a:lnTo>
                    <a:pt x="596" y="387"/>
                  </a:lnTo>
                  <a:lnTo>
                    <a:pt x="596" y="291"/>
                  </a:lnTo>
                  <a:lnTo>
                    <a:pt x="596" y="291"/>
                  </a:lnTo>
                  <a:lnTo>
                    <a:pt x="594" y="256"/>
                  </a:lnTo>
                  <a:lnTo>
                    <a:pt x="590" y="225"/>
                  </a:lnTo>
                  <a:lnTo>
                    <a:pt x="585" y="194"/>
                  </a:lnTo>
                  <a:lnTo>
                    <a:pt x="576" y="166"/>
                  </a:lnTo>
                  <a:lnTo>
                    <a:pt x="566" y="141"/>
                  </a:lnTo>
                  <a:lnTo>
                    <a:pt x="552" y="117"/>
                  </a:lnTo>
                  <a:lnTo>
                    <a:pt x="537" y="96"/>
                  </a:lnTo>
                  <a:lnTo>
                    <a:pt x="520" y="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2">
              <a:extLst>
                <a:ext uri="{FF2B5EF4-FFF2-40B4-BE49-F238E27FC236}">
                  <a16:creationId xmlns:a16="http://schemas.microsoft.com/office/drawing/2014/main" id="{14356701-70A4-4FDA-AD2C-21BF6CE376BA}"/>
                </a:ext>
              </a:extLst>
            </p:cNvPr>
            <p:cNvSpPr>
              <a:spLocks/>
            </p:cNvSpPr>
            <p:nvPr/>
          </p:nvSpPr>
          <p:spPr bwMode="auto">
            <a:xfrm>
              <a:off x="4659" y="1805"/>
              <a:ext cx="92" cy="50"/>
            </a:xfrm>
            <a:custGeom>
              <a:avLst/>
              <a:gdLst>
                <a:gd name="T0" fmla="*/ 0 w 183"/>
                <a:gd name="T1" fmla="*/ 101 h 101"/>
                <a:gd name="T2" fmla="*/ 0 w 183"/>
                <a:gd name="T3" fmla="*/ 101 h 101"/>
                <a:gd name="T4" fmla="*/ 4 w 183"/>
                <a:gd name="T5" fmla="*/ 77 h 101"/>
                <a:gd name="T6" fmla="*/ 7 w 183"/>
                <a:gd name="T7" fmla="*/ 66 h 101"/>
                <a:gd name="T8" fmla="*/ 10 w 183"/>
                <a:gd name="T9" fmla="*/ 56 h 101"/>
                <a:gd name="T10" fmla="*/ 14 w 183"/>
                <a:gd name="T11" fmla="*/ 46 h 101"/>
                <a:gd name="T12" fmla="*/ 18 w 183"/>
                <a:gd name="T13" fmla="*/ 39 h 101"/>
                <a:gd name="T14" fmla="*/ 24 w 183"/>
                <a:gd name="T15" fmla="*/ 31 h 101"/>
                <a:gd name="T16" fmla="*/ 29 w 183"/>
                <a:gd name="T17" fmla="*/ 25 h 101"/>
                <a:gd name="T18" fmla="*/ 29 w 183"/>
                <a:gd name="T19" fmla="*/ 25 h 101"/>
                <a:gd name="T20" fmla="*/ 43 w 183"/>
                <a:gd name="T21" fmla="*/ 14 h 101"/>
                <a:gd name="T22" fmla="*/ 50 w 183"/>
                <a:gd name="T23" fmla="*/ 10 h 101"/>
                <a:gd name="T24" fmla="*/ 59 w 183"/>
                <a:gd name="T25" fmla="*/ 7 h 101"/>
                <a:gd name="T26" fmla="*/ 74 w 183"/>
                <a:gd name="T27" fmla="*/ 1 h 101"/>
                <a:gd name="T28" fmla="*/ 92 w 183"/>
                <a:gd name="T29" fmla="*/ 0 h 101"/>
                <a:gd name="T30" fmla="*/ 92 w 183"/>
                <a:gd name="T31" fmla="*/ 0 h 101"/>
                <a:gd name="T32" fmla="*/ 102 w 183"/>
                <a:gd name="T33" fmla="*/ 1 h 101"/>
                <a:gd name="T34" fmla="*/ 112 w 183"/>
                <a:gd name="T35" fmla="*/ 3 h 101"/>
                <a:gd name="T36" fmla="*/ 122 w 183"/>
                <a:gd name="T37" fmla="*/ 4 h 101"/>
                <a:gd name="T38" fmla="*/ 130 w 183"/>
                <a:gd name="T39" fmla="*/ 7 h 101"/>
                <a:gd name="T40" fmla="*/ 137 w 183"/>
                <a:gd name="T41" fmla="*/ 11 h 101"/>
                <a:gd name="T42" fmla="*/ 144 w 183"/>
                <a:gd name="T43" fmla="*/ 15 h 101"/>
                <a:gd name="T44" fmla="*/ 151 w 183"/>
                <a:gd name="T45" fmla="*/ 21 h 101"/>
                <a:gd name="T46" fmla="*/ 158 w 183"/>
                <a:gd name="T47" fmla="*/ 28 h 101"/>
                <a:gd name="T48" fmla="*/ 158 w 183"/>
                <a:gd name="T49" fmla="*/ 28 h 101"/>
                <a:gd name="T50" fmla="*/ 164 w 183"/>
                <a:gd name="T51" fmla="*/ 35 h 101"/>
                <a:gd name="T52" fmla="*/ 168 w 183"/>
                <a:gd name="T53" fmla="*/ 42 h 101"/>
                <a:gd name="T54" fmla="*/ 172 w 183"/>
                <a:gd name="T55" fmla="*/ 50 h 101"/>
                <a:gd name="T56" fmla="*/ 176 w 183"/>
                <a:gd name="T57" fmla="*/ 60 h 101"/>
                <a:gd name="T58" fmla="*/ 179 w 183"/>
                <a:gd name="T59" fmla="*/ 69 h 101"/>
                <a:gd name="T60" fmla="*/ 181 w 183"/>
                <a:gd name="T61" fmla="*/ 80 h 101"/>
                <a:gd name="T62" fmla="*/ 183 w 183"/>
                <a:gd name="T63" fmla="*/ 101 h 101"/>
                <a:gd name="T64" fmla="*/ 0 w 183"/>
                <a:gd name="T6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3" h="101">
                  <a:moveTo>
                    <a:pt x="0" y="101"/>
                  </a:moveTo>
                  <a:lnTo>
                    <a:pt x="0" y="101"/>
                  </a:lnTo>
                  <a:lnTo>
                    <a:pt x="4" y="77"/>
                  </a:lnTo>
                  <a:lnTo>
                    <a:pt x="7" y="66"/>
                  </a:lnTo>
                  <a:lnTo>
                    <a:pt x="10" y="56"/>
                  </a:lnTo>
                  <a:lnTo>
                    <a:pt x="14" y="46"/>
                  </a:lnTo>
                  <a:lnTo>
                    <a:pt x="18" y="39"/>
                  </a:lnTo>
                  <a:lnTo>
                    <a:pt x="24" y="31"/>
                  </a:lnTo>
                  <a:lnTo>
                    <a:pt x="29" y="25"/>
                  </a:lnTo>
                  <a:lnTo>
                    <a:pt x="29" y="25"/>
                  </a:lnTo>
                  <a:lnTo>
                    <a:pt x="43" y="14"/>
                  </a:lnTo>
                  <a:lnTo>
                    <a:pt x="50" y="10"/>
                  </a:lnTo>
                  <a:lnTo>
                    <a:pt x="59" y="7"/>
                  </a:lnTo>
                  <a:lnTo>
                    <a:pt x="74" y="1"/>
                  </a:lnTo>
                  <a:lnTo>
                    <a:pt x="92" y="0"/>
                  </a:lnTo>
                  <a:lnTo>
                    <a:pt x="92" y="0"/>
                  </a:lnTo>
                  <a:lnTo>
                    <a:pt x="102" y="1"/>
                  </a:lnTo>
                  <a:lnTo>
                    <a:pt x="112" y="3"/>
                  </a:lnTo>
                  <a:lnTo>
                    <a:pt x="122" y="4"/>
                  </a:lnTo>
                  <a:lnTo>
                    <a:pt x="130" y="7"/>
                  </a:lnTo>
                  <a:lnTo>
                    <a:pt x="137" y="11"/>
                  </a:lnTo>
                  <a:lnTo>
                    <a:pt x="144" y="15"/>
                  </a:lnTo>
                  <a:lnTo>
                    <a:pt x="151" y="21"/>
                  </a:lnTo>
                  <a:lnTo>
                    <a:pt x="158" y="28"/>
                  </a:lnTo>
                  <a:lnTo>
                    <a:pt x="158" y="28"/>
                  </a:lnTo>
                  <a:lnTo>
                    <a:pt x="164" y="35"/>
                  </a:lnTo>
                  <a:lnTo>
                    <a:pt x="168" y="42"/>
                  </a:lnTo>
                  <a:lnTo>
                    <a:pt x="172" y="50"/>
                  </a:lnTo>
                  <a:lnTo>
                    <a:pt x="176" y="60"/>
                  </a:lnTo>
                  <a:lnTo>
                    <a:pt x="179" y="69"/>
                  </a:lnTo>
                  <a:lnTo>
                    <a:pt x="181" y="80"/>
                  </a:lnTo>
                  <a:lnTo>
                    <a:pt x="183" y="101"/>
                  </a:lnTo>
                  <a:lnTo>
                    <a:pt x="0" y="1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3">
              <a:extLst>
                <a:ext uri="{FF2B5EF4-FFF2-40B4-BE49-F238E27FC236}">
                  <a16:creationId xmlns:a16="http://schemas.microsoft.com/office/drawing/2014/main" id="{6E7BACFF-645E-4AA6-93EC-08424A488743}"/>
                </a:ext>
              </a:extLst>
            </p:cNvPr>
            <p:cNvSpPr>
              <a:spLocks noEditPoints="1"/>
            </p:cNvSpPr>
            <p:nvPr/>
          </p:nvSpPr>
          <p:spPr bwMode="auto">
            <a:xfrm>
              <a:off x="3067" y="1731"/>
              <a:ext cx="297" cy="327"/>
            </a:xfrm>
            <a:custGeom>
              <a:avLst/>
              <a:gdLst>
                <a:gd name="T0" fmla="*/ 501 w 596"/>
                <a:gd name="T1" fmla="*/ 58 h 655"/>
                <a:gd name="T2" fmla="*/ 428 w 596"/>
                <a:gd name="T3" fmla="*/ 20 h 655"/>
                <a:gd name="T4" fmla="*/ 338 w 596"/>
                <a:gd name="T5" fmla="*/ 2 h 655"/>
                <a:gd name="T6" fmla="*/ 269 w 596"/>
                <a:gd name="T7" fmla="*/ 2 h 655"/>
                <a:gd name="T8" fmla="*/ 175 w 596"/>
                <a:gd name="T9" fmla="*/ 23 h 655"/>
                <a:gd name="T10" fmla="*/ 122 w 596"/>
                <a:gd name="T11" fmla="*/ 50 h 655"/>
                <a:gd name="T12" fmla="*/ 89 w 596"/>
                <a:gd name="T13" fmla="*/ 76 h 655"/>
                <a:gd name="T14" fmla="*/ 69 w 596"/>
                <a:gd name="T15" fmla="*/ 97 h 655"/>
                <a:gd name="T16" fmla="*/ 31 w 596"/>
                <a:gd name="T17" fmla="*/ 162 h 655"/>
                <a:gd name="T18" fmla="*/ 4 w 596"/>
                <a:gd name="T19" fmla="*/ 257 h 655"/>
                <a:gd name="T20" fmla="*/ 0 w 596"/>
                <a:gd name="T21" fmla="*/ 333 h 655"/>
                <a:gd name="T22" fmla="*/ 12 w 596"/>
                <a:gd name="T23" fmla="*/ 439 h 655"/>
                <a:gd name="T24" fmla="*/ 41 w 596"/>
                <a:gd name="T25" fmla="*/ 512 h 655"/>
                <a:gd name="T26" fmla="*/ 65 w 596"/>
                <a:gd name="T27" fmla="*/ 550 h 655"/>
                <a:gd name="T28" fmla="*/ 86 w 596"/>
                <a:gd name="T29" fmla="*/ 572 h 655"/>
                <a:gd name="T30" fmla="*/ 119 w 596"/>
                <a:gd name="T31" fmla="*/ 600 h 655"/>
                <a:gd name="T32" fmla="*/ 188 w 596"/>
                <a:gd name="T33" fmla="*/ 634 h 655"/>
                <a:gd name="T34" fmla="*/ 288 w 596"/>
                <a:gd name="T35" fmla="*/ 654 h 655"/>
                <a:gd name="T36" fmla="*/ 361 w 596"/>
                <a:gd name="T37" fmla="*/ 655 h 655"/>
                <a:gd name="T38" fmla="*/ 452 w 596"/>
                <a:gd name="T39" fmla="*/ 645 h 655"/>
                <a:gd name="T40" fmla="*/ 505 w 596"/>
                <a:gd name="T41" fmla="*/ 631 h 655"/>
                <a:gd name="T42" fmla="*/ 523 w 596"/>
                <a:gd name="T43" fmla="*/ 467 h 655"/>
                <a:gd name="T44" fmla="*/ 453 w 596"/>
                <a:gd name="T45" fmla="*/ 490 h 655"/>
                <a:gd name="T46" fmla="*/ 404 w 596"/>
                <a:gd name="T47" fmla="*/ 498 h 655"/>
                <a:gd name="T48" fmla="*/ 351 w 596"/>
                <a:gd name="T49" fmla="*/ 501 h 655"/>
                <a:gd name="T50" fmla="*/ 307 w 596"/>
                <a:gd name="T51" fmla="*/ 497 h 655"/>
                <a:gd name="T52" fmla="*/ 272 w 596"/>
                <a:gd name="T53" fmla="*/ 484 h 655"/>
                <a:gd name="T54" fmla="*/ 253 w 596"/>
                <a:gd name="T55" fmla="*/ 470 h 655"/>
                <a:gd name="T56" fmla="*/ 232 w 596"/>
                <a:gd name="T57" fmla="*/ 445 h 655"/>
                <a:gd name="T58" fmla="*/ 219 w 596"/>
                <a:gd name="T59" fmla="*/ 413 h 655"/>
                <a:gd name="T60" fmla="*/ 596 w 596"/>
                <a:gd name="T61" fmla="*/ 387 h 655"/>
                <a:gd name="T62" fmla="*/ 595 w 596"/>
                <a:gd name="T63" fmla="*/ 256 h 655"/>
                <a:gd name="T64" fmla="*/ 578 w 596"/>
                <a:gd name="T65" fmla="*/ 166 h 655"/>
                <a:gd name="T66" fmla="*/ 539 w 596"/>
                <a:gd name="T67" fmla="*/ 96 h 655"/>
                <a:gd name="T68" fmla="*/ 219 w 596"/>
                <a:gd name="T69" fmla="*/ 250 h 655"/>
                <a:gd name="T70" fmla="*/ 229 w 596"/>
                <a:gd name="T71" fmla="*/ 205 h 655"/>
                <a:gd name="T72" fmla="*/ 243 w 596"/>
                <a:gd name="T73" fmla="*/ 180 h 655"/>
                <a:gd name="T74" fmla="*/ 262 w 596"/>
                <a:gd name="T75" fmla="*/ 163 h 655"/>
                <a:gd name="T76" fmla="*/ 295 w 596"/>
                <a:gd name="T77" fmla="*/ 150 h 655"/>
                <a:gd name="T78" fmla="*/ 323 w 596"/>
                <a:gd name="T79" fmla="*/ 150 h 655"/>
                <a:gd name="T80" fmla="*/ 349 w 596"/>
                <a:gd name="T81" fmla="*/ 156 h 655"/>
                <a:gd name="T82" fmla="*/ 372 w 596"/>
                <a:gd name="T83" fmla="*/ 170 h 655"/>
                <a:gd name="T84" fmla="*/ 383 w 596"/>
                <a:gd name="T85" fmla="*/ 184 h 655"/>
                <a:gd name="T86" fmla="*/ 396 w 596"/>
                <a:gd name="T87" fmla="*/ 209 h 655"/>
                <a:gd name="T88" fmla="*/ 403 w 596"/>
                <a:gd name="T89" fmla="*/ 25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6" h="655">
                  <a:moveTo>
                    <a:pt x="520" y="76"/>
                  </a:moveTo>
                  <a:lnTo>
                    <a:pt x="520" y="76"/>
                  </a:lnTo>
                  <a:lnTo>
                    <a:pt x="501" y="58"/>
                  </a:lnTo>
                  <a:lnTo>
                    <a:pt x="478" y="43"/>
                  </a:lnTo>
                  <a:lnTo>
                    <a:pt x="454" y="30"/>
                  </a:lnTo>
                  <a:lnTo>
                    <a:pt x="428" y="20"/>
                  </a:lnTo>
                  <a:lnTo>
                    <a:pt x="400" y="12"/>
                  </a:lnTo>
                  <a:lnTo>
                    <a:pt x="370" y="6"/>
                  </a:lnTo>
                  <a:lnTo>
                    <a:pt x="338" y="2"/>
                  </a:lnTo>
                  <a:lnTo>
                    <a:pt x="304" y="0"/>
                  </a:lnTo>
                  <a:lnTo>
                    <a:pt x="304" y="0"/>
                  </a:lnTo>
                  <a:lnTo>
                    <a:pt x="269" y="2"/>
                  </a:lnTo>
                  <a:lnTo>
                    <a:pt x="236" y="6"/>
                  </a:lnTo>
                  <a:lnTo>
                    <a:pt x="204" y="13"/>
                  </a:lnTo>
                  <a:lnTo>
                    <a:pt x="175" y="23"/>
                  </a:lnTo>
                  <a:lnTo>
                    <a:pt x="147" y="34"/>
                  </a:lnTo>
                  <a:lnTo>
                    <a:pt x="135" y="41"/>
                  </a:lnTo>
                  <a:lnTo>
                    <a:pt x="122" y="50"/>
                  </a:lnTo>
                  <a:lnTo>
                    <a:pt x="111" y="58"/>
                  </a:lnTo>
                  <a:lnTo>
                    <a:pt x="100" y="66"/>
                  </a:lnTo>
                  <a:lnTo>
                    <a:pt x="89" y="76"/>
                  </a:lnTo>
                  <a:lnTo>
                    <a:pt x="79" y="87"/>
                  </a:lnTo>
                  <a:lnTo>
                    <a:pt x="79" y="87"/>
                  </a:lnTo>
                  <a:lnTo>
                    <a:pt x="69" y="97"/>
                  </a:lnTo>
                  <a:lnTo>
                    <a:pt x="61" y="110"/>
                  </a:lnTo>
                  <a:lnTo>
                    <a:pt x="45" y="134"/>
                  </a:lnTo>
                  <a:lnTo>
                    <a:pt x="31" y="162"/>
                  </a:lnTo>
                  <a:lnTo>
                    <a:pt x="20" y="191"/>
                  </a:lnTo>
                  <a:lnTo>
                    <a:pt x="12" y="223"/>
                  </a:lnTo>
                  <a:lnTo>
                    <a:pt x="4" y="257"/>
                  </a:lnTo>
                  <a:lnTo>
                    <a:pt x="2" y="293"/>
                  </a:lnTo>
                  <a:lnTo>
                    <a:pt x="0" y="333"/>
                  </a:lnTo>
                  <a:lnTo>
                    <a:pt x="0" y="333"/>
                  </a:lnTo>
                  <a:lnTo>
                    <a:pt x="2" y="371"/>
                  </a:lnTo>
                  <a:lnTo>
                    <a:pt x="6" y="406"/>
                  </a:lnTo>
                  <a:lnTo>
                    <a:pt x="12" y="439"/>
                  </a:lnTo>
                  <a:lnTo>
                    <a:pt x="21" y="470"/>
                  </a:lnTo>
                  <a:lnTo>
                    <a:pt x="34" y="498"/>
                  </a:lnTo>
                  <a:lnTo>
                    <a:pt x="41" y="512"/>
                  </a:lnTo>
                  <a:lnTo>
                    <a:pt x="48" y="525"/>
                  </a:lnTo>
                  <a:lnTo>
                    <a:pt x="56" y="537"/>
                  </a:lnTo>
                  <a:lnTo>
                    <a:pt x="65" y="550"/>
                  </a:lnTo>
                  <a:lnTo>
                    <a:pt x="75" y="561"/>
                  </a:lnTo>
                  <a:lnTo>
                    <a:pt x="86" y="572"/>
                  </a:lnTo>
                  <a:lnTo>
                    <a:pt x="86" y="572"/>
                  </a:lnTo>
                  <a:lnTo>
                    <a:pt x="96" y="582"/>
                  </a:lnTo>
                  <a:lnTo>
                    <a:pt x="108" y="592"/>
                  </a:lnTo>
                  <a:lnTo>
                    <a:pt x="119" y="600"/>
                  </a:lnTo>
                  <a:lnTo>
                    <a:pt x="132" y="609"/>
                  </a:lnTo>
                  <a:lnTo>
                    <a:pt x="159" y="623"/>
                  </a:lnTo>
                  <a:lnTo>
                    <a:pt x="188" y="634"/>
                  </a:lnTo>
                  <a:lnTo>
                    <a:pt x="219" y="644"/>
                  </a:lnTo>
                  <a:lnTo>
                    <a:pt x="253" y="651"/>
                  </a:lnTo>
                  <a:lnTo>
                    <a:pt x="288" y="654"/>
                  </a:lnTo>
                  <a:lnTo>
                    <a:pt x="325" y="655"/>
                  </a:lnTo>
                  <a:lnTo>
                    <a:pt x="325" y="655"/>
                  </a:lnTo>
                  <a:lnTo>
                    <a:pt x="361" y="655"/>
                  </a:lnTo>
                  <a:lnTo>
                    <a:pt x="394" y="654"/>
                  </a:lnTo>
                  <a:lnTo>
                    <a:pt x="425" y="649"/>
                  </a:lnTo>
                  <a:lnTo>
                    <a:pt x="452" y="645"/>
                  </a:lnTo>
                  <a:lnTo>
                    <a:pt x="452" y="645"/>
                  </a:lnTo>
                  <a:lnTo>
                    <a:pt x="478" y="640"/>
                  </a:lnTo>
                  <a:lnTo>
                    <a:pt x="505" y="631"/>
                  </a:lnTo>
                  <a:lnTo>
                    <a:pt x="530" y="621"/>
                  </a:lnTo>
                  <a:lnTo>
                    <a:pt x="555" y="610"/>
                  </a:lnTo>
                  <a:lnTo>
                    <a:pt x="523" y="467"/>
                  </a:lnTo>
                  <a:lnTo>
                    <a:pt x="523"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3" y="470"/>
                  </a:lnTo>
                  <a:lnTo>
                    <a:pt x="253" y="470"/>
                  </a:lnTo>
                  <a:lnTo>
                    <a:pt x="244" y="463"/>
                  </a:lnTo>
                  <a:lnTo>
                    <a:pt x="237" y="455"/>
                  </a:lnTo>
                  <a:lnTo>
                    <a:pt x="232" y="445"/>
                  </a:lnTo>
                  <a:lnTo>
                    <a:pt x="226" y="435"/>
                  </a:lnTo>
                  <a:lnTo>
                    <a:pt x="222" y="424"/>
                  </a:lnTo>
                  <a:lnTo>
                    <a:pt x="219" y="413"/>
                  </a:lnTo>
                  <a:lnTo>
                    <a:pt x="216" y="400"/>
                  </a:lnTo>
                  <a:lnTo>
                    <a:pt x="215" y="387"/>
                  </a:lnTo>
                  <a:lnTo>
                    <a:pt x="596" y="387"/>
                  </a:lnTo>
                  <a:lnTo>
                    <a:pt x="596" y="291"/>
                  </a:lnTo>
                  <a:lnTo>
                    <a:pt x="596" y="291"/>
                  </a:lnTo>
                  <a:lnTo>
                    <a:pt x="595" y="256"/>
                  </a:lnTo>
                  <a:lnTo>
                    <a:pt x="592" y="225"/>
                  </a:lnTo>
                  <a:lnTo>
                    <a:pt x="585" y="194"/>
                  </a:lnTo>
                  <a:lnTo>
                    <a:pt x="578" y="166"/>
                  </a:lnTo>
                  <a:lnTo>
                    <a:pt x="567" y="141"/>
                  </a:lnTo>
                  <a:lnTo>
                    <a:pt x="554" y="117"/>
                  </a:lnTo>
                  <a:lnTo>
                    <a:pt x="539" y="96"/>
                  </a:lnTo>
                  <a:lnTo>
                    <a:pt x="520" y="76"/>
                  </a:lnTo>
                  <a:close/>
                  <a:moveTo>
                    <a:pt x="219" y="250"/>
                  </a:moveTo>
                  <a:lnTo>
                    <a:pt x="219" y="250"/>
                  </a:lnTo>
                  <a:lnTo>
                    <a:pt x="223" y="226"/>
                  </a:lnTo>
                  <a:lnTo>
                    <a:pt x="226" y="215"/>
                  </a:lnTo>
                  <a:lnTo>
                    <a:pt x="229" y="205"/>
                  </a:lnTo>
                  <a:lnTo>
                    <a:pt x="233" y="195"/>
                  </a:lnTo>
                  <a:lnTo>
                    <a:pt x="239" y="188"/>
                  </a:lnTo>
                  <a:lnTo>
                    <a:pt x="243" y="180"/>
                  </a:lnTo>
                  <a:lnTo>
                    <a:pt x="250" y="174"/>
                  </a:lnTo>
                  <a:lnTo>
                    <a:pt x="250" y="174"/>
                  </a:lnTo>
                  <a:lnTo>
                    <a:pt x="262" y="163"/>
                  </a:lnTo>
                  <a:lnTo>
                    <a:pt x="269" y="159"/>
                  </a:lnTo>
                  <a:lnTo>
                    <a:pt x="278" y="156"/>
                  </a:lnTo>
                  <a:lnTo>
                    <a:pt x="295" y="150"/>
                  </a:lnTo>
                  <a:lnTo>
                    <a:pt x="313" y="149"/>
                  </a:lnTo>
                  <a:lnTo>
                    <a:pt x="313" y="149"/>
                  </a:lnTo>
                  <a:lnTo>
                    <a:pt x="323" y="150"/>
                  </a:lnTo>
                  <a:lnTo>
                    <a:pt x="331" y="152"/>
                  </a:lnTo>
                  <a:lnTo>
                    <a:pt x="341" y="153"/>
                  </a:lnTo>
                  <a:lnTo>
                    <a:pt x="349" y="156"/>
                  </a:lnTo>
                  <a:lnTo>
                    <a:pt x="356" y="160"/>
                  </a:lnTo>
                  <a:lnTo>
                    <a:pt x="365" y="164"/>
                  </a:lnTo>
                  <a:lnTo>
                    <a:pt x="372" y="170"/>
                  </a:lnTo>
                  <a:lnTo>
                    <a:pt x="377" y="177"/>
                  </a:lnTo>
                  <a:lnTo>
                    <a:pt x="377" y="177"/>
                  </a:lnTo>
                  <a:lnTo>
                    <a:pt x="383" y="184"/>
                  </a:lnTo>
                  <a:lnTo>
                    <a:pt x="389" y="191"/>
                  </a:lnTo>
                  <a:lnTo>
                    <a:pt x="393" y="199"/>
                  </a:lnTo>
                  <a:lnTo>
                    <a:pt x="396" y="209"/>
                  </a:lnTo>
                  <a:lnTo>
                    <a:pt x="398" y="218"/>
                  </a:lnTo>
                  <a:lnTo>
                    <a:pt x="401" y="229"/>
                  </a:lnTo>
                  <a:lnTo>
                    <a:pt x="403" y="250"/>
                  </a:lnTo>
                  <a:lnTo>
                    <a:pt x="219" y="2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4">
              <a:extLst>
                <a:ext uri="{FF2B5EF4-FFF2-40B4-BE49-F238E27FC236}">
                  <a16:creationId xmlns:a16="http://schemas.microsoft.com/office/drawing/2014/main" id="{6E0DFED0-D87D-4985-A2A7-A6D34D4B0D06}"/>
                </a:ext>
              </a:extLst>
            </p:cNvPr>
            <p:cNvSpPr>
              <a:spLocks/>
            </p:cNvSpPr>
            <p:nvPr/>
          </p:nvSpPr>
          <p:spPr bwMode="auto">
            <a:xfrm>
              <a:off x="3067" y="1731"/>
              <a:ext cx="297" cy="327"/>
            </a:xfrm>
            <a:custGeom>
              <a:avLst/>
              <a:gdLst>
                <a:gd name="T0" fmla="*/ 520 w 596"/>
                <a:gd name="T1" fmla="*/ 76 h 655"/>
                <a:gd name="T2" fmla="*/ 478 w 596"/>
                <a:gd name="T3" fmla="*/ 43 h 655"/>
                <a:gd name="T4" fmla="*/ 428 w 596"/>
                <a:gd name="T5" fmla="*/ 20 h 655"/>
                <a:gd name="T6" fmla="*/ 370 w 596"/>
                <a:gd name="T7" fmla="*/ 6 h 655"/>
                <a:gd name="T8" fmla="*/ 304 w 596"/>
                <a:gd name="T9" fmla="*/ 0 h 655"/>
                <a:gd name="T10" fmla="*/ 269 w 596"/>
                <a:gd name="T11" fmla="*/ 2 h 655"/>
                <a:gd name="T12" fmla="*/ 204 w 596"/>
                <a:gd name="T13" fmla="*/ 13 h 655"/>
                <a:gd name="T14" fmla="*/ 147 w 596"/>
                <a:gd name="T15" fmla="*/ 34 h 655"/>
                <a:gd name="T16" fmla="*/ 122 w 596"/>
                <a:gd name="T17" fmla="*/ 50 h 655"/>
                <a:gd name="T18" fmla="*/ 100 w 596"/>
                <a:gd name="T19" fmla="*/ 66 h 655"/>
                <a:gd name="T20" fmla="*/ 79 w 596"/>
                <a:gd name="T21" fmla="*/ 87 h 655"/>
                <a:gd name="T22" fmla="*/ 69 w 596"/>
                <a:gd name="T23" fmla="*/ 97 h 655"/>
                <a:gd name="T24" fmla="*/ 45 w 596"/>
                <a:gd name="T25" fmla="*/ 134 h 655"/>
                <a:gd name="T26" fmla="*/ 20 w 596"/>
                <a:gd name="T27" fmla="*/ 191 h 655"/>
                <a:gd name="T28" fmla="*/ 4 w 596"/>
                <a:gd name="T29" fmla="*/ 257 h 655"/>
                <a:gd name="T30" fmla="*/ 0 w 596"/>
                <a:gd name="T31" fmla="*/ 333 h 655"/>
                <a:gd name="T32" fmla="*/ 2 w 596"/>
                <a:gd name="T33" fmla="*/ 371 h 655"/>
                <a:gd name="T34" fmla="*/ 12 w 596"/>
                <a:gd name="T35" fmla="*/ 439 h 655"/>
                <a:gd name="T36" fmla="*/ 34 w 596"/>
                <a:gd name="T37" fmla="*/ 498 h 655"/>
                <a:gd name="T38" fmla="*/ 48 w 596"/>
                <a:gd name="T39" fmla="*/ 525 h 655"/>
                <a:gd name="T40" fmla="*/ 65 w 596"/>
                <a:gd name="T41" fmla="*/ 550 h 655"/>
                <a:gd name="T42" fmla="*/ 86 w 596"/>
                <a:gd name="T43" fmla="*/ 572 h 655"/>
                <a:gd name="T44" fmla="*/ 96 w 596"/>
                <a:gd name="T45" fmla="*/ 582 h 655"/>
                <a:gd name="T46" fmla="*/ 119 w 596"/>
                <a:gd name="T47" fmla="*/ 600 h 655"/>
                <a:gd name="T48" fmla="*/ 159 w 596"/>
                <a:gd name="T49" fmla="*/ 623 h 655"/>
                <a:gd name="T50" fmla="*/ 219 w 596"/>
                <a:gd name="T51" fmla="*/ 644 h 655"/>
                <a:gd name="T52" fmla="*/ 288 w 596"/>
                <a:gd name="T53" fmla="*/ 654 h 655"/>
                <a:gd name="T54" fmla="*/ 325 w 596"/>
                <a:gd name="T55" fmla="*/ 655 h 655"/>
                <a:gd name="T56" fmla="*/ 394 w 596"/>
                <a:gd name="T57" fmla="*/ 654 h 655"/>
                <a:gd name="T58" fmla="*/ 452 w 596"/>
                <a:gd name="T59" fmla="*/ 645 h 655"/>
                <a:gd name="T60" fmla="*/ 478 w 596"/>
                <a:gd name="T61" fmla="*/ 640 h 655"/>
                <a:gd name="T62" fmla="*/ 530 w 596"/>
                <a:gd name="T63" fmla="*/ 621 h 655"/>
                <a:gd name="T64" fmla="*/ 523 w 596"/>
                <a:gd name="T65" fmla="*/ 467 h 655"/>
                <a:gd name="T66" fmla="*/ 487 w 596"/>
                <a:gd name="T67" fmla="*/ 480 h 655"/>
                <a:gd name="T68" fmla="*/ 453 w 596"/>
                <a:gd name="T69" fmla="*/ 490 h 655"/>
                <a:gd name="T70" fmla="*/ 404 w 596"/>
                <a:gd name="T71" fmla="*/ 498 h 655"/>
                <a:gd name="T72" fmla="*/ 351 w 596"/>
                <a:gd name="T73" fmla="*/ 501 h 655"/>
                <a:gd name="T74" fmla="*/ 335 w 596"/>
                <a:gd name="T75" fmla="*/ 499 h 655"/>
                <a:gd name="T76" fmla="*/ 307 w 596"/>
                <a:gd name="T77" fmla="*/ 497 h 655"/>
                <a:gd name="T78" fmla="*/ 283 w 596"/>
                <a:gd name="T79" fmla="*/ 488 h 655"/>
                <a:gd name="T80" fmla="*/ 262 w 596"/>
                <a:gd name="T81" fmla="*/ 477 h 655"/>
                <a:gd name="T82" fmla="*/ 253 w 596"/>
                <a:gd name="T83" fmla="*/ 470 h 655"/>
                <a:gd name="T84" fmla="*/ 237 w 596"/>
                <a:gd name="T85" fmla="*/ 455 h 655"/>
                <a:gd name="T86" fmla="*/ 226 w 596"/>
                <a:gd name="T87" fmla="*/ 435 h 655"/>
                <a:gd name="T88" fmla="*/ 219 w 596"/>
                <a:gd name="T89" fmla="*/ 413 h 655"/>
                <a:gd name="T90" fmla="*/ 215 w 596"/>
                <a:gd name="T91" fmla="*/ 387 h 655"/>
                <a:gd name="T92" fmla="*/ 596 w 596"/>
                <a:gd name="T93" fmla="*/ 291 h 655"/>
                <a:gd name="T94" fmla="*/ 595 w 596"/>
                <a:gd name="T95" fmla="*/ 256 h 655"/>
                <a:gd name="T96" fmla="*/ 585 w 596"/>
                <a:gd name="T97" fmla="*/ 194 h 655"/>
                <a:gd name="T98" fmla="*/ 567 w 596"/>
                <a:gd name="T99" fmla="*/ 141 h 655"/>
                <a:gd name="T100" fmla="*/ 539 w 596"/>
                <a:gd name="T101" fmla="*/ 9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655">
                  <a:moveTo>
                    <a:pt x="520" y="76"/>
                  </a:moveTo>
                  <a:lnTo>
                    <a:pt x="520" y="76"/>
                  </a:lnTo>
                  <a:lnTo>
                    <a:pt x="501" y="58"/>
                  </a:lnTo>
                  <a:lnTo>
                    <a:pt x="478" y="43"/>
                  </a:lnTo>
                  <a:lnTo>
                    <a:pt x="454" y="30"/>
                  </a:lnTo>
                  <a:lnTo>
                    <a:pt x="428" y="20"/>
                  </a:lnTo>
                  <a:lnTo>
                    <a:pt x="400" y="12"/>
                  </a:lnTo>
                  <a:lnTo>
                    <a:pt x="370" y="6"/>
                  </a:lnTo>
                  <a:lnTo>
                    <a:pt x="338" y="2"/>
                  </a:lnTo>
                  <a:lnTo>
                    <a:pt x="304" y="0"/>
                  </a:lnTo>
                  <a:lnTo>
                    <a:pt x="304" y="0"/>
                  </a:lnTo>
                  <a:lnTo>
                    <a:pt x="269" y="2"/>
                  </a:lnTo>
                  <a:lnTo>
                    <a:pt x="236" y="6"/>
                  </a:lnTo>
                  <a:lnTo>
                    <a:pt x="204" y="13"/>
                  </a:lnTo>
                  <a:lnTo>
                    <a:pt x="175" y="23"/>
                  </a:lnTo>
                  <a:lnTo>
                    <a:pt x="147" y="34"/>
                  </a:lnTo>
                  <a:lnTo>
                    <a:pt x="135" y="41"/>
                  </a:lnTo>
                  <a:lnTo>
                    <a:pt x="122" y="50"/>
                  </a:lnTo>
                  <a:lnTo>
                    <a:pt x="111" y="58"/>
                  </a:lnTo>
                  <a:lnTo>
                    <a:pt x="100" y="66"/>
                  </a:lnTo>
                  <a:lnTo>
                    <a:pt x="89" y="76"/>
                  </a:lnTo>
                  <a:lnTo>
                    <a:pt x="79" y="87"/>
                  </a:lnTo>
                  <a:lnTo>
                    <a:pt x="79" y="87"/>
                  </a:lnTo>
                  <a:lnTo>
                    <a:pt x="69" y="97"/>
                  </a:lnTo>
                  <a:lnTo>
                    <a:pt x="61" y="110"/>
                  </a:lnTo>
                  <a:lnTo>
                    <a:pt x="45" y="134"/>
                  </a:lnTo>
                  <a:lnTo>
                    <a:pt x="31" y="162"/>
                  </a:lnTo>
                  <a:lnTo>
                    <a:pt x="20" y="191"/>
                  </a:lnTo>
                  <a:lnTo>
                    <a:pt x="12" y="223"/>
                  </a:lnTo>
                  <a:lnTo>
                    <a:pt x="4" y="257"/>
                  </a:lnTo>
                  <a:lnTo>
                    <a:pt x="2" y="293"/>
                  </a:lnTo>
                  <a:lnTo>
                    <a:pt x="0" y="333"/>
                  </a:lnTo>
                  <a:lnTo>
                    <a:pt x="0" y="333"/>
                  </a:lnTo>
                  <a:lnTo>
                    <a:pt x="2" y="371"/>
                  </a:lnTo>
                  <a:lnTo>
                    <a:pt x="6" y="406"/>
                  </a:lnTo>
                  <a:lnTo>
                    <a:pt x="12" y="439"/>
                  </a:lnTo>
                  <a:lnTo>
                    <a:pt x="21" y="470"/>
                  </a:lnTo>
                  <a:lnTo>
                    <a:pt x="34" y="498"/>
                  </a:lnTo>
                  <a:lnTo>
                    <a:pt x="41" y="512"/>
                  </a:lnTo>
                  <a:lnTo>
                    <a:pt x="48" y="525"/>
                  </a:lnTo>
                  <a:lnTo>
                    <a:pt x="56" y="537"/>
                  </a:lnTo>
                  <a:lnTo>
                    <a:pt x="65" y="550"/>
                  </a:lnTo>
                  <a:lnTo>
                    <a:pt x="75" y="561"/>
                  </a:lnTo>
                  <a:lnTo>
                    <a:pt x="86" y="572"/>
                  </a:lnTo>
                  <a:lnTo>
                    <a:pt x="86" y="572"/>
                  </a:lnTo>
                  <a:lnTo>
                    <a:pt x="96" y="582"/>
                  </a:lnTo>
                  <a:lnTo>
                    <a:pt x="108" y="592"/>
                  </a:lnTo>
                  <a:lnTo>
                    <a:pt x="119" y="600"/>
                  </a:lnTo>
                  <a:lnTo>
                    <a:pt x="132" y="609"/>
                  </a:lnTo>
                  <a:lnTo>
                    <a:pt x="159" y="623"/>
                  </a:lnTo>
                  <a:lnTo>
                    <a:pt x="188" y="634"/>
                  </a:lnTo>
                  <a:lnTo>
                    <a:pt x="219" y="644"/>
                  </a:lnTo>
                  <a:lnTo>
                    <a:pt x="253" y="651"/>
                  </a:lnTo>
                  <a:lnTo>
                    <a:pt x="288" y="654"/>
                  </a:lnTo>
                  <a:lnTo>
                    <a:pt x="325" y="655"/>
                  </a:lnTo>
                  <a:lnTo>
                    <a:pt x="325" y="655"/>
                  </a:lnTo>
                  <a:lnTo>
                    <a:pt x="361" y="655"/>
                  </a:lnTo>
                  <a:lnTo>
                    <a:pt x="394" y="654"/>
                  </a:lnTo>
                  <a:lnTo>
                    <a:pt x="425" y="649"/>
                  </a:lnTo>
                  <a:lnTo>
                    <a:pt x="452" y="645"/>
                  </a:lnTo>
                  <a:lnTo>
                    <a:pt x="452" y="645"/>
                  </a:lnTo>
                  <a:lnTo>
                    <a:pt x="478" y="640"/>
                  </a:lnTo>
                  <a:lnTo>
                    <a:pt x="505" y="631"/>
                  </a:lnTo>
                  <a:lnTo>
                    <a:pt x="530" y="621"/>
                  </a:lnTo>
                  <a:lnTo>
                    <a:pt x="555" y="610"/>
                  </a:lnTo>
                  <a:lnTo>
                    <a:pt x="523" y="467"/>
                  </a:lnTo>
                  <a:lnTo>
                    <a:pt x="523"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3" y="470"/>
                  </a:lnTo>
                  <a:lnTo>
                    <a:pt x="253" y="470"/>
                  </a:lnTo>
                  <a:lnTo>
                    <a:pt x="244" y="463"/>
                  </a:lnTo>
                  <a:lnTo>
                    <a:pt x="237" y="455"/>
                  </a:lnTo>
                  <a:lnTo>
                    <a:pt x="232" y="445"/>
                  </a:lnTo>
                  <a:lnTo>
                    <a:pt x="226" y="435"/>
                  </a:lnTo>
                  <a:lnTo>
                    <a:pt x="222" y="424"/>
                  </a:lnTo>
                  <a:lnTo>
                    <a:pt x="219" y="413"/>
                  </a:lnTo>
                  <a:lnTo>
                    <a:pt x="216" y="400"/>
                  </a:lnTo>
                  <a:lnTo>
                    <a:pt x="215" y="387"/>
                  </a:lnTo>
                  <a:lnTo>
                    <a:pt x="596" y="387"/>
                  </a:lnTo>
                  <a:lnTo>
                    <a:pt x="596" y="291"/>
                  </a:lnTo>
                  <a:lnTo>
                    <a:pt x="596" y="291"/>
                  </a:lnTo>
                  <a:lnTo>
                    <a:pt x="595" y="256"/>
                  </a:lnTo>
                  <a:lnTo>
                    <a:pt x="592" y="225"/>
                  </a:lnTo>
                  <a:lnTo>
                    <a:pt x="585" y="194"/>
                  </a:lnTo>
                  <a:lnTo>
                    <a:pt x="578" y="166"/>
                  </a:lnTo>
                  <a:lnTo>
                    <a:pt x="567" y="141"/>
                  </a:lnTo>
                  <a:lnTo>
                    <a:pt x="554" y="117"/>
                  </a:lnTo>
                  <a:lnTo>
                    <a:pt x="539" y="96"/>
                  </a:lnTo>
                  <a:lnTo>
                    <a:pt x="520" y="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5">
              <a:extLst>
                <a:ext uri="{FF2B5EF4-FFF2-40B4-BE49-F238E27FC236}">
                  <a16:creationId xmlns:a16="http://schemas.microsoft.com/office/drawing/2014/main" id="{C9C64311-03E1-4887-A1C6-47D355A66428}"/>
                </a:ext>
              </a:extLst>
            </p:cNvPr>
            <p:cNvSpPr>
              <a:spLocks/>
            </p:cNvSpPr>
            <p:nvPr/>
          </p:nvSpPr>
          <p:spPr bwMode="auto">
            <a:xfrm>
              <a:off x="3176" y="1805"/>
              <a:ext cx="92" cy="50"/>
            </a:xfrm>
            <a:custGeom>
              <a:avLst/>
              <a:gdLst>
                <a:gd name="T0" fmla="*/ 0 w 184"/>
                <a:gd name="T1" fmla="*/ 101 h 101"/>
                <a:gd name="T2" fmla="*/ 0 w 184"/>
                <a:gd name="T3" fmla="*/ 101 h 101"/>
                <a:gd name="T4" fmla="*/ 4 w 184"/>
                <a:gd name="T5" fmla="*/ 77 h 101"/>
                <a:gd name="T6" fmla="*/ 7 w 184"/>
                <a:gd name="T7" fmla="*/ 66 h 101"/>
                <a:gd name="T8" fmla="*/ 10 w 184"/>
                <a:gd name="T9" fmla="*/ 56 h 101"/>
                <a:gd name="T10" fmla="*/ 14 w 184"/>
                <a:gd name="T11" fmla="*/ 46 h 101"/>
                <a:gd name="T12" fmla="*/ 20 w 184"/>
                <a:gd name="T13" fmla="*/ 39 h 101"/>
                <a:gd name="T14" fmla="*/ 24 w 184"/>
                <a:gd name="T15" fmla="*/ 31 h 101"/>
                <a:gd name="T16" fmla="*/ 31 w 184"/>
                <a:gd name="T17" fmla="*/ 25 h 101"/>
                <a:gd name="T18" fmla="*/ 31 w 184"/>
                <a:gd name="T19" fmla="*/ 25 h 101"/>
                <a:gd name="T20" fmla="*/ 43 w 184"/>
                <a:gd name="T21" fmla="*/ 14 h 101"/>
                <a:gd name="T22" fmla="*/ 50 w 184"/>
                <a:gd name="T23" fmla="*/ 10 h 101"/>
                <a:gd name="T24" fmla="*/ 59 w 184"/>
                <a:gd name="T25" fmla="*/ 7 h 101"/>
                <a:gd name="T26" fmla="*/ 76 w 184"/>
                <a:gd name="T27" fmla="*/ 1 h 101"/>
                <a:gd name="T28" fmla="*/ 94 w 184"/>
                <a:gd name="T29" fmla="*/ 0 h 101"/>
                <a:gd name="T30" fmla="*/ 94 w 184"/>
                <a:gd name="T31" fmla="*/ 0 h 101"/>
                <a:gd name="T32" fmla="*/ 104 w 184"/>
                <a:gd name="T33" fmla="*/ 1 h 101"/>
                <a:gd name="T34" fmla="*/ 112 w 184"/>
                <a:gd name="T35" fmla="*/ 3 h 101"/>
                <a:gd name="T36" fmla="*/ 122 w 184"/>
                <a:gd name="T37" fmla="*/ 4 h 101"/>
                <a:gd name="T38" fmla="*/ 130 w 184"/>
                <a:gd name="T39" fmla="*/ 7 h 101"/>
                <a:gd name="T40" fmla="*/ 137 w 184"/>
                <a:gd name="T41" fmla="*/ 11 h 101"/>
                <a:gd name="T42" fmla="*/ 146 w 184"/>
                <a:gd name="T43" fmla="*/ 15 h 101"/>
                <a:gd name="T44" fmla="*/ 153 w 184"/>
                <a:gd name="T45" fmla="*/ 21 h 101"/>
                <a:gd name="T46" fmla="*/ 158 w 184"/>
                <a:gd name="T47" fmla="*/ 28 h 101"/>
                <a:gd name="T48" fmla="*/ 158 w 184"/>
                <a:gd name="T49" fmla="*/ 28 h 101"/>
                <a:gd name="T50" fmla="*/ 164 w 184"/>
                <a:gd name="T51" fmla="*/ 35 h 101"/>
                <a:gd name="T52" fmla="*/ 170 w 184"/>
                <a:gd name="T53" fmla="*/ 42 h 101"/>
                <a:gd name="T54" fmla="*/ 174 w 184"/>
                <a:gd name="T55" fmla="*/ 50 h 101"/>
                <a:gd name="T56" fmla="*/ 177 w 184"/>
                <a:gd name="T57" fmla="*/ 60 h 101"/>
                <a:gd name="T58" fmla="*/ 179 w 184"/>
                <a:gd name="T59" fmla="*/ 69 h 101"/>
                <a:gd name="T60" fmla="*/ 182 w 184"/>
                <a:gd name="T61" fmla="*/ 80 h 101"/>
                <a:gd name="T62" fmla="*/ 184 w 184"/>
                <a:gd name="T63" fmla="*/ 101 h 101"/>
                <a:gd name="T64" fmla="*/ 0 w 184"/>
                <a:gd name="T6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01">
                  <a:moveTo>
                    <a:pt x="0" y="101"/>
                  </a:moveTo>
                  <a:lnTo>
                    <a:pt x="0" y="101"/>
                  </a:lnTo>
                  <a:lnTo>
                    <a:pt x="4" y="77"/>
                  </a:lnTo>
                  <a:lnTo>
                    <a:pt x="7" y="66"/>
                  </a:lnTo>
                  <a:lnTo>
                    <a:pt x="10" y="56"/>
                  </a:lnTo>
                  <a:lnTo>
                    <a:pt x="14" y="46"/>
                  </a:lnTo>
                  <a:lnTo>
                    <a:pt x="20" y="39"/>
                  </a:lnTo>
                  <a:lnTo>
                    <a:pt x="24" y="31"/>
                  </a:lnTo>
                  <a:lnTo>
                    <a:pt x="31" y="25"/>
                  </a:lnTo>
                  <a:lnTo>
                    <a:pt x="31" y="25"/>
                  </a:lnTo>
                  <a:lnTo>
                    <a:pt x="43" y="14"/>
                  </a:lnTo>
                  <a:lnTo>
                    <a:pt x="50" y="10"/>
                  </a:lnTo>
                  <a:lnTo>
                    <a:pt x="59" y="7"/>
                  </a:lnTo>
                  <a:lnTo>
                    <a:pt x="76" y="1"/>
                  </a:lnTo>
                  <a:lnTo>
                    <a:pt x="94" y="0"/>
                  </a:lnTo>
                  <a:lnTo>
                    <a:pt x="94" y="0"/>
                  </a:lnTo>
                  <a:lnTo>
                    <a:pt x="104" y="1"/>
                  </a:lnTo>
                  <a:lnTo>
                    <a:pt x="112" y="3"/>
                  </a:lnTo>
                  <a:lnTo>
                    <a:pt x="122" y="4"/>
                  </a:lnTo>
                  <a:lnTo>
                    <a:pt x="130" y="7"/>
                  </a:lnTo>
                  <a:lnTo>
                    <a:pt x="137" y="11"/>
                  </a:lnTo>
                  <a:lnTo>
                    <a:pt x="146" y="15"/>
                  </a:lnTo>
                  <a:lnTo>
                    <a:pt x="153" y="21"/>
                  </a:lnTo>
                  <a:lnTo>
                    <a:pt x="158" y="28"/>
                  </a:lnTo>
                  <a:lnTo>
                    <a:pt x="158" y="28"/>
                  </a:lnTo>
                  <a:lnTo>
                    <a:pt x="164" y="35"/>
                  </a:lnTo>
                  <a:lnTo>
                    <a:pt x="170" y="42"/>
                  </a:lnTo>
                  <a:lnTo>
                    <a:pt x="174" y="50"/>
                  </a:lnTo>
                  <a:lnTo>
                    <a:pt x="177" y="60"/>
                  </a:lnTo>
                  <a:lnTo>
                    <a:pt x="179" y="69"/>
                  </a:lnTo>
                  <a:lnTo>
                    <a:pt x="182" y="80"/>
                  </a:lnTo>
                  <a:lnTo>
                    <a:pt x="184" y="101"/>
                  </a:lnTo>
                  <a:lnTo>
                    <a:pt x="0" y="1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 name="Text Placeholder 12">
            <a:extLst>
              <a:ext uri="{FF2B5EF4-FFF2-40B4-BE49-F238E27FC236}">
                <a16:creationId xmlns:a16="http://schemas.microsoft.com/office/drawing/2014/main" id="{17D0378C-AD18-483B-AF6F-BA73FD894159}"/>
              </a:ext>
            </a:extLst>
          </p:cNvPr>
          <p:cNvSpPr txBox="1">
            <a:spLocks/>
          </p:cNvSpPr>
          <p:nvPr/>
        </p:nvSpPr>
        <p:spPr>
          <a:xfrm>
            <a:off x="7569200" y="880814"/>
            <a:ext cx="4622800" cy="923330"/>
          </a:xfrm>
          <a:prstGeom prst="rect">
            <a:avLst/>
          </a:prstGeom>
          <a:solidFill>
            <a:schemeClr val="bg1"/>
          </a:solidFill>
        </p:spPr>
        <p:txBody>
          <a:bodyPr vert="horz" lIns="914400" tIns="274320" rIns="274320" bIns="274320" rtlCol="0" anchor="ctr" anchorCtr="0">
            <a:spAutoFit/>
          </a:bodyPr>
          <a:lstStyle>
            <a:lvl1pPr marL="0" indent="0" algn="l" defTabSz="914400" rtl="0" eaLnBrk="1" latinLnBrk="0" hangingPunct="1">
              <a:lnSpc>
                <a:spcPct val="100000"/>
              </a:lnSpc>
              <a:spcBef>
                <a:spcPts val="0"/>
              </a:spcBef>
              <a:spcAft>
                <a:spcPts val="1000"/>
              </a:spcAft>
              <a:buSzPct val="100000"/>
              <a:buFontTx/>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120000"/>
              </a:lnSpc>
              <a:spcBef>
                <a:spcPts val="0"/>
              </a:spcBef>
              <a:spcAft>
                <a:spcPts val="1000"/>
              </a:spcAft>
              <a:buClrTx/>
              <a:buSzPct val="100000"/>
              <a:buFontTx/>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914400" indent="0" algn="l" defTabSz="914400" rtl="0" eaLnBrk="1" latinLnBrk="0" hangingPunct="1">
              <a:lnSpc>
                <a:spcPct val="120000"/>
              </a:lnSpc>
              <a:spcBef>
                <a:spcPts val="0"/>
              </a:spcBef>
              <a:spcAft>
                <a:spcPts val="1000"/>
              </a:spcAft>
              <a:buClrTx/>
              <a:buSzPct val="100000"/>
              <a:buFontTx/>
              <a:buNone/>
              <a:defRPr lang="en-US" sz="1300" kern="1200">
                <a:solidFill>
                  <a:schemeClr val="tx1"/>
                </a:solidFill>
                <a:latin typeface="+mn-lt"/>
                <a:ea typeface="+mn-ea"/>
                <a:cs typeface="Calibri Light" panose="020F0302020204030204" pitchFamily="34" charset="0"/>
              </a:defRPr>
            </a:lvl3pPr>
            <a:lvl4pPr marL="1371600" indent="0" algn="l" defTabSz="914400" rtl="0" eaLnBrk="1" latinLnBrk="0" hangingPunct="1">
              <a:lnSpc>
                <a:spcPct val="120000"/>
              </a:lnSpc>
              <a:spcBef>
                <a:spcPts val="0"/>
              </a:spcBef>
              <a:spcAft>
                <a:spcPts val="1000"/>
              </a:spcAft>
              <a:buClrTx/>
              <a:buSzPct val="100000"/>
              <a:buFontTx/>
              <a:buNone/>
              <a:defRPr lang="en-US" sz="1300" kern="1200" baseline="0">
                <a:solidFill>
                  <a:schemeClr val="tx1"/>
                </a:solidFill>
                <a:latin typeface="+mn-lt"/>
                <a:ea typeface="+mn-ea"/>
                <a:cs typeface="Calibri Light" panose="020F0302020204030204" pitchFamily="34" charset="0"/>
              </a:defRPr>
            </a:lvl4pPr>
            <a:lvl5pPr marL="1828800" indent="0" algn="l" defTabSz="798513" rtl="0" eaLnBrk="1" latinLnBrk="0" hangingPunct="1">
              <a:lnSpc>
                <a:spcPct val="120000"/>
              </a:lnSpc>
              <a:spcBef>
                <a:spcPts val="0"/>
              </a:spcBef>
              <a:spcAft>
                <a:spcPts val="1000"/>
              </a:spcAft>
              <a:buClrTx/>
              <a:buSzPct val="100000"/>
              <a:buFontTx/>
              <a:buNone/>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sz="2400" dirty="0"/>
              <a:t>Cloud</a:t>
            </a:r>
            <a:endParaRPr lang="en-US" sz="2400" dirty="0"/>
          </a:p>
        </p:txBody>
      </p:sp>
      <p:sp>
        <p:nvSpPr>
          <p:cNvPr id="29" name="Text Placeholder 12">
            <a:extLst>
              <a:ext uri="{FF2B5EF4-FFF2-40B4-BE49-F238E27FC236}">
                <a16:creationId xmlns:a16="http://schemas.microsoft.com/office/drawing/2014/main" id="{69D01499-E0F4-4B45-8302-93E9B57BE1AC}"/>
              </a:ext>
            </a:extLst>
          </p:cNvPr>
          <p:cNvSpPr txBox="1">
            <a:spLocks/>
          </p:cNvSpPr>
          <p:nvPr/>
        </p:nvSpPr>
        <p:spPr>
          <a:xfrm>
            <a:off x="7569200" y="2826146"/>
            <a:ext cx="4622800" cy="923330"/>
          </a:xfrm>
          <a:prstGeom prst="rect">
            <a:avLst/>
          </a:prstGeom>
          <a:solidFill>
            <a:schemeClr val="bg1"/>
          </a:solidFill>
        </p:spPr>
        <p:txBody>
          <a:bodyPr vert="horz" lIns="914400" tIns="274320" rIns="274320" bIns="274320" rtlCol="0" anchor="ctr" anchorCtr="0">
            <a:spAutoFit/>
          </a:bodyPr>
          <a:lstStyle>
            <a:lvl1pPr marL="0" indent="0" algn="l" defTabSz="914400" rtl="0" eaLnBrk="1" latinLnBrk="0" hangingPunct="1">
              <a:lnSpc>
                <a:spcPct val="100000"/>
              </a:lnSpc>
              <a:spcBef>
                <a:spcPts val="0"/>
              </a:spcBef>
              <a:spcAft>
                <a:spcPts val="1000"/>
              </a:spcAft>
              <a:buSzPct val="100000"/>
              <a:buFontTx/>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120000"/>
              </a:lnSpc>
              <a:spcBef>
                <a:spcPts val="0"/>
              </a:spcBef>
              <a:spcAft>
                <a:spcPts val="1000"/>
              </a:spcAft>
              <a:buClrTx/>
              <a:buSzPct val="100000"/>
              <a:buFontTx/>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914400" indent="0" algn="l" defTabSz="914400" rtl="0" eaLnBrk="1" latinLnBrk="0" hangingPunct="1">
              <a:lnSpc>
                <a:spcPct val="120000"/>
              </a:lnSpc>
              <a:spcBef>
                <a:spcPts val="0"/>
              </a:spcBef>
              <a:spcAft>
                <a:spcPts val="1000"/>
              </a:spcAft>
              <a:buClrTx/>
              <a:buSzPct val="100000"/>
              <a:buFontTx/>
              <a:buNone/>
              <a:defRPr lang="en-US" sz="1300" kern="1200">
                <a:solidFill>
                  <a:schemeClr val="tx1"/>
                </a:solidFill>
                <a:latin typeface="+mn-lt"/>
                <a:ea typeface="+mn-ea"/>
                <a:cs typeface="Calibri Light" panose="020F0302020204030204" pitchFamily="34" charset="0"/>
              </a:defRPr>
            </a:lvl3pPr>
            <a:lvl4pPr marL="1371600" indent="0" algn="l" defTabSz="914400" rtl="0" eaLnBrk="1" latinLnBrk="0" hangingPunct="1">
              <a:lnSpc>
                <a:spcPct val="120000"/>
              </a:lnSpc>
              <a:spcBef>
                <a:spcPts val="0"/>
              </a:spcBef>
              <a:spcAft>
                <a:spcPts val="1000"/>
              </a:spcAft>
              <a:buClrTx/>
              <a:buSzPct val="100000"/>
              <a:buFontTx/>
              <a:buNone/>
              <a:defRPr lang="en-US" sz="1300" kern="1200" baseline="0">
                <a:solidFill>
                  <a:schemeClr val="tx1"/>
                </a:solidFill>
                <a:latin typeface="+mn-lt"/>
                <a:ea typeface="+mn-ea"/>
                <a:cs typeface="Calibri Light" panose="020F0302020204030204" pitchFamily="34" charset="0"/>
              </a:defRPr>
            </a:lvl4pPr>
            <a:lvl5pPr marL="1828800" indent="0" algn="l" defTabSz="798513" rtl="0" eaLnBrk="1" latinLnBrk="0" hangingPunct="1">
              <a:lnSpc>
                <a:spcPct val="120000"/>
              </a:lnSpc>
              <a:spcBef>
                <a:spcPts val="0"/>
              </a:spcBef>
              <a:spcAft>
                <a:spcPts val="1000"/>
              </a:spcAft>
              <a:buClrTx/>
              <a:buSzPct val="100000"/>
              <a:buFontTx/>
              <a:buNone/>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sz="2400" dirty="0"/>
              <a:t>Multiple Databases</a:t>
            </a:r>
            <a:endParaRPr lang="en-US" sz="2400" dirty="0"/>
          </a:p>
        </p:txBody>
      </p:sp>
      <p:sp>
        <p:nvSpPr>
          <p:cNvPr id="30" name="Text Placeholder 12">
            <a:extLst>
              <a:ext uri="{FF2B5EF4-FFF2-40B4-BE49-F238E27FC236}">
                <a16:creationId xmlns:a16="http://schemas.microsoft.com/office/drawing/2014/main" id="{34F81F5E-6D73-47ED-B75A-026971C6A58D}"/>
              </a:ext>
            </a:extLst>
          </p:cNvPr>
          <p:cNvSpPr txBox="1">
            <a:spLocks/>
          </p:cNvSpPr>
          <p:nvPr/>
        </p:nvSpPr>
        <p:spPr>
          <a:xfrm>
            <a:off x="7569200" y="4771479"/>
            <a:ext cx="4622800" cy="923330"/>
          </a:xfrm>
          <a:prstGeom prst="rect">
            <a:avLst/>
          </a:prstGeom>
          <a:solidFill>
            <a:schemeClr val="bg1"/>
          </a:solidFill>
        </p:spPr>
        <p:txBody>
          <a:bodyPr vert="horz" lIns="914400" tIns="274320" rIns="274320" bIns="274320" rtlCol="0" anchor="ctr" anchorCtr="0">
            <a:spAutoFit/>
          </a:bodyPr>
          <a:lstStyle>
            <a:lvl1pPr marL="0" indent="0" algn="l" defTabSz="914400" rtl="0" eaLnBrk="1" latinLnBrk="0" hangingPunct="1">
              <a:lnSpc>
                <a:spcPct val="100000"/>
              </a:lnSpc>
              <a:spcBef>
                <a:spcPts val="0"/>
              </a:spcBef>
              <a:spcAft>
                <a:spcPts val="1000"/>
              </a:spcAft>
              <a:buSzPct val="100000"/>
              <a:buFontTx/>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120000"/>
              </a:lnSpc>
              <a:spcBef>
                <a:spcPts val="0"/>
              </a:spcBef>
              <a:spcAft>
                <a:spcPts val="1000"/>
              </a:spcAft>
              <a:buClrTx/>
              <a:buSzPct val="100000"/>
              <a:buFontTx/>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914400" indent="0" algn="l" defTabSz="914400" rtl="0" eaLnBrk="1" latinLnBrk="0" hangingPunct="1">
              <a:lnSpc>
                <a:spcPct val="120000"/>
              </a:lnSpc>
              <a:spcBef>
                <a:spcPts val="0"/>
              </a:spcBef>
              <a:spcAft>
                <a:spcPts val="1000"/>
              </a:spcAft>
              <a:buClrTx/>
              <a:buSzPct val="100000"/>
              <a:buFontTx/>
              <a:buNone/>
              <a:defRPr lang="en-US" sz="1300" kern="1200">
                <a:solidFill>
                  <a:schemeClr val="tx1"/>
                </a:solidFill>
                <a:latin typeface="+mn-lt"/>
                <a:ea typeface="+mn-ea"/>
                <a:cs typeface="Calibri Light" panose="020F0302020204030204" pitchFamily="34" charset="0"/>
              </a:defRPr>
            </a:lvl3pPr>
            <a:lvl4pPr marL="1371600" indent="0" algn="l" defTabSz="914400" rtl="0" eaLnBrk="1" latinLnBrk="0" hangingPunct="1">
              <a:lnSpc>
                <a:spcPct val="120000"/>
              </a:lnSpc>
              <a:spcBef>
                <a:spcPts val="0"/>
              </a:spcBef>
              <a:spcAft>
                <a:spcPts val="1000"/>
              </a:spcAft>
              <a:buClrTx/>
              <a:buSzPct val="100000"/>
              <a:buFontTx/>
              <a:buNone/>
              <a:defRPr lang="en-US" sz="1300" kern="1200" baseline="0">
                <a:solidFill>
                  <a:schemeClr val="tx1"/>
                </a:solidFill>
                <a:latin typeface="+mn-lt"/>
                <a:ea typeface="+mn-ea"/>
                <a:cs typeface="Calibri Light" panose="020F0302020204030204" pitchFamily="34" charset="0"/>
              </a:defRPr>
            </a:lvl4pPr>
            <a:lvl5pPr marL="1828800" indent="0" algn="l" defTabSz="798513" rtl="0" eaLnBrk="1" latinLnBrk="0" hangingPunct="1">
              <a:lnSpc>
                <a:spcPct val="120000"/>
              </a:lnSpc>
              <a:spcBef>
                <a:spcPts val="0"/>
              </a:spcBef>
              <a:spcAft>
                <a:spcPts val="1000"/>
              </a:spcAft>
              <a:buClrTx/>
              <a:buSzPct val="100000"/>
              <a:buFontTx/>
              <a:buNone/>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it-IT" sz="2400" dirty="0"/>
              <a:t>Permission Management</a:t>
            </a:r>
            <a:endParaRPr lang="en-US" sz="2400" dirty="0"/>
          </a:p>
        </p:txBody>
      </p:sp>
    </p:spTree>
    <p:custDataLst>
      <p:custData r:id="rId1"/>
      <p:custData r:id="rId2"/>
    </p:custDataLst>
    <p:extLst>
      <p:ext uri="{BB962C8B-B14F-4D97-AF65-F5344CB8AC3E}">
        <p14:creationId xmlns:p14="http://schemas.microsoft.com/office/powerpoint/2010/main" val="3738219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CEFAE7DC-BF52-AB46-B5C1-BC0739E43564}"/>
              </a:ext>
            </a:extLst>
          </p:cNvPr>
          <p:cNvPicPr>
            <a:picLocks noGrp="1" noChangeAspect="1"/>
          </p:cNvPicPr>
          <p:nvPr>
            <p:ph type="pic" sz="quarter" idx="12"/>
          </p:nvPr>
        </p:nvPicPr>
        <p:blipFill rotWithShape="1">
          <a:blip r:embed="rId5"/>
          <a:srcRect l="-24320" t="-4168" r="-2569" b="18540"/>
          <a:stretch/>
        </p:blipFill>
        <p:spPr>
          <a:xfrm>
            <a:off x="0" y="0"/>
            <a:ext cx="12192000" cy="6858000"/>
          </a:xfrm>
          <a:solidFill>
            <a:schemeClr val="accent1"/>
          </a:solidFill>
        </p:spPr>
      </p:pic>
      <p:sp>
        <p:nvSpPr>
          <p:cNvPr id="13" name="Text Placeholder 12">
            <a:extLst>
              <a:ext uri="{FF2B5EF4-FFF2-40B4-BE49-F238E27FC236}">
                <a16:creationId xmlns:a16="http://schemas.microsoft.com/office/drawing/2014/main" id="{84640765-7CE3-6D4B-AB74-6AFBA4A2D9CB}"/>
              </a:ext>
            </a:extLst>
          </p:cNvPr>
          <p:cNvSpPr>
            <a:spLocks noGrp="1"/>
          </p:cNvSpPr>
          <p:nvPr>
            <p:ph type="body" sz="quarter" idx="11"/>
          </p:nvPr>
        </p:nvSpPr>
        <p:spPr>
          <a:xfrm>
            <a:off x="0" y="3773170"/>
            <a:ext cx="4622800" cy="984885"/>
          </a:xfrm>
        </p:spPr>
        <p:txBody>
          <a:bodyPr/>
          <a:lstStyle/>
          <a:p>
            <a:r>
              <a:rPr lang="en-US" dirty="0"/>
              <a:t>Data Entry Tool</a:t>
            </a:r>
          </a:p>
        </p:txBody>
      </p:sp>
      <p:grpSp>
        <p:nvGrpSpPr>
          <p:cNvPr id="5" name="Group 4" descr="Deloitte Digital logo">
            <a:extLst>
              <a:ext uri="{FF2B5EF4-FFF2-40B4-BE49-F238E27FC236}">
                <a16:creationId xmlns:a16="http://schemas.microsoft.com/office/drawing/2014/main" id="{90CD9B16-8DF9-47B6-BB2F-48696B7D3F68}"/>
              </a:ext>
            </a:extLst>
          </p:cNvPr>
          <p:cNvGrpSpPr>
            <a:grpSpLocks noChangeAspect="1"/>
          </p:cNvGrpSpPr>
          <p:nvPr/>
        </p:nvGrpSpPr>
        <p:grpSpPr bwMode="auto">
          <a:xfrm>
            <a:off x="977244" y="502998"/>
            <a:ext cx="821483" cy="153495"/>
            <a:chOff x="2684" y="1627"/>
            <a:chExt cx="2312" cy="432"/>
          </a:xfrm>
        </p:grpSpPr>
        <p:sp>
          <p:nvSpPr>
            <p:cNvPr id="6" name="Freeform 5">
              <a:extLst>
                <a:ext uri="{FF2B5EF4-FFF2-40B4-BE49-F238E27FC236}">
                  <a16:creationId xmlns:a16="http://schemas.microsoft.com/office/drawing/2014/main" id="{41BEFE73-E9BC-485E-BCFF-ABDA8CA45184}"/>
                </a:ext>
              </a:extLst>
            </p:cNvPr>
            <p:cNvSpPr>
              <a:spLocks/>
            </p:cNvSpPr>
            <p:nvPr/>
          </p:nvSpPr>
          <p:spPr bwMode="auto">
            <a:xfrm>
              <a:off x="4873" y="1937"/>
              <a:ext cx="123" cy="122"/>
            </a:xfrm>
            <a:custGeom>
              <a:avLst/>
              <a:gdLst>
                <a:gd name="T0" fmla="*/ 0 w 245"/>
                <a:gd name="T1" fmla="*/ 123 h 245"/>
                <a:gd name="T2" fmla="*/ 3 w 245"/>
                <a:gd name="T3" fmla="*/ 98 h 245"/>
                <a:gd name="T4" fmla="*/ 10 w 245"/>
                <a:gd name="T5" fmla="*/ 75 h 245"/>
                <a:gd name="T6" fmla="*/ 21 w 245"/>
                <a:gd name="T7" fmla="*/ 54 h 245"/>
                <a:gd name="T8" fmla="*/ 36 w 245"/>
                <a:gd name="T9" fmla="*/ 36 h 245"/>
                <a:gd name="T10" fmla="*/ 54 w 245"/>
                <a:gd name="T11" fmla="*/ 21 h 245"/>
                <a:gd name="T12" fmla="*/ 75 w 245"/>
                <a:gd name="T13" fmla="*/ 9 h 245"/>
                <a:gd name="T14" fmla="*/ 98 w 245"/>
                <a:gd name="T15" fmla="*/ 2 h 245"/>
                <a:gd name="T16" fmla="*/ 123 w 245"/>
                <a:gd name="T17" fmla="*/ 0 h 245"/>
                <a:gd name="T18" fmla="*/ 134 w 245"/>
                <a:gd name="T19" fmla="*/ 1 h 245"/>
                <a:gd name="T20" fmla="*/ 160 w 245"/>
                <a:gd name="T21" fmla="*/ 5 h 245"/>
                <a:gd name="T22" fmla="*/ 181 w 245"/>
                <a:gd name="T23" fmla="*/ 15 h 245"/>
                <a:gd name="T24" fmla="*/ 200 w 245"/>
                <a:gd name="T25" fmla="*/ 28 h 245"/>
                <a:gd name="T26" fmla="*/ 217 w 245"/>
                <a:gd name="T27" fmla="*/ 44 h 245"/>
                <a:gd name="T28" fmla="*/ 230 w 245"/>
                <a:gd name="T29" fmla="*/ 64 h 245"/>
                <a:gd name="T30" fmla="*/ 239 w 245"/>
                <a:gd name="T31" fmla="*/ 86 h 245"/>
                <a:gd name="T32" fmla="*/ 245 w 245"/>
                <a:gd name="T33" fmla="*/ 110 h 245"/>
                <a:gd name="T34" fmla="*/ 245 w 245"/>
                <a:gd name="T35" fmla="*/ 123 h 245"/>
                <a:gd name="T36" fmla="*/ 242 w 245"/>
                <a:gd name="T37" fmla="*/ 147 h 245"/>
                <a:gd name="T38" fmla="*/ 235 w 245"/>
                <a:gd name="T39" fmla="*/ 171 h 245"/>
                <a:gd name="T40" fmla="*/ 224 w 245"/>
                <a:gd name="T41" fmla="*/ 192 h 245"/>
                <a:gd name="T42" fmla="*/ 209 w 245"/>
                <a:gd name="T43" fmla="*/ 210 h 245"/>
                <a:gd name="T44" fmla="*/ 190 w 245"/>
                <a:gd name="T45" fmla="*/ 224 h 245"/>
                <a:gd name="T46" fmla="*/ 171 w 245"/>
                <a:gd name="T47" fmla="*/ 235 h 245"/>
                <a:gd name="T48" fmla="*/ 147 w 245"/>
                <a:gd name="T49" fmla="*/ 242 h 245"/>
                <a:gd name="T50" fmla="*/ 123 w 245"/>
                <a:gd name="T51" fmla="*/ 245 h 245"/>
                <a:gd name="T52" fmla="*/ 110 w 245"/>
                <a:gd name="T53" fmla="*/ 245 h 245"/>
                <a:gd name="T54" fmla="*/ 87 w 245"/>
                <a:gd name="T55" fmla="*/ 239 h 245"/>
                <a:gd name="T56" fmla="*/ 64 w 245"/>
                <a:gd name="T57" fmla="*/ 231 h 245"/>
                <a:gd name="T58" fmla="*/ 45 w 245"/>
                <a:gd name="T59" fmla="*/ 217 h 245"/>
                <a:gd name="T60" fmla="*/ 28 w 245"/>
                <a:gd name="T61" fmla="*/ 200 h 245"/>
                <a:gd name="T62" fmla="*/ 15 w 245"/>
                <a:gd name="T63" fmla="*/ 180 h 245"/>
                <a:gd name="T64" fmla="*/ 5 w 245"/>
                <a:gd name="T65" fmla="*/ 159 h 245"/>
                <a:gd name="T66" fmla="*/ 1 w 245"/>
                <a:gd name="T67" fmla="*/ 1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5" h="245">
                  <a:moveTo>
                    <a:pt x="0" y="123"/>
                  </a:moveTo>
                  <a:lnTo>
                    <a:pt x="0" y="123"/>
                  </a:lnTo>
                  <a:lnTo>
                    <a:pt x="1" y="110"/>
                  </a:lnTo>
                  <a:lnTo>
                    <a:pt x="3" y="98"/>
                  </a:lnTo>
                  <a:lnTo>
                    <a:pt x="5" y="86"/>
                  </a:lnTo>
                  <a:lnTo>
                    <a:pt x="10" y="75"/>
                  </a:lnTo>
                  <a:lnTo>
                    <a:pt x="15" y="64"/>
                  </a:lnTo>
                  <a:lnTo>
                    <a:pt x="21" y="54"/>
                  </a:lnTo>
                  <a:lnTo>
                    <a:pt x="28" y="44"/>
                  </a:lnTo>
                  <a:lnTo>
                    <a:pt x="36" y="36"/>
                  </a:lnTo>
                  <a:lnTo>
                    <a:pt x="45" y="28"/>
                  </a:lnTo>
                  <a:lnTo>
                    <a:pt x="54" y="21"/>
                  </a:lnTo>
                  <a:lnTo>
                    <a:pt x="64" y="15"/>
                  </a:lnTo>
                  <a:lnTo>
                    <a:pt x="75" y="9"/>
                  </a:lnTo>
                  <a:lnTo>
                    <a:pt x="87" y="5"/>
                  </a:lnTo>
                  <a:lnTo>
                    <a:pt x="98" y="2"/>
                  </a:lnTo>
                  <a:lnTo>
                    <a:pt x="110" y="1"/>
                  </a:lnTo>
                  <a:lnTo>
                    <a:pt x="123" y="0"/>
                  </a:lnTo>
                  <a:lnTo>
                    <a:pt x="123" y="0"/>
                  </a:lnTo>
                  <a:lnTo>
                    <a:pt x="134" y="1"/>
                  </a:lnTo>
                  <a:lnTo>
                    <a:pt x="147" y="2"/>
                  </a:lnTo>
                  <a:lnTo>
                    <a:pt x="160" y="5"/>
                  </a:lnTo>
                  <a:lnTo>
                    <a:pt x="171" y="9"/>
                  </a:lnTo>
                  <a:lnTo>
                    <a:pt x="181" y="15"/>
                  </a:lnTo>
                  <a:lnTo>
                    <a:pt x="190" y="21"/>
                  </a:lnTo>
                  <a:lnTo>
                    <a:pt x="200" y="28"/>
                  </a:lnTo>
                  <a:lnTo>
                    <a:pt x="209" y="36"/>
                  </a:lnTo>
                  <a:lnTo>
                    <a:pt x="217" y="44"/>
                  </a:lnTo>
                  <a:lnTo>
                    <a:pt x="224" y="54"/>
                  </a:lnTo>
                  <a:lnTo>
                    <a:pt x="230" y="64"/>
                  </a:lnTo>
                  <a:lnTo>
                    <a:pt x="235" y="75"/>
                  </a:lnTo>
                  <a:lnTo>
                    <a:pt x="239" y="86"/>
                  </a:lnTo>
                  <a:lnTo>
                    <a:pt x="242" y="98"/>
                  </a:lnTo>
                  <a:lnTo>
                    <a:pt x="245" y="110"/>
                  </a:lnTo>
                  <a:lnTo>
                    <a:pt x="245" y="123"/>
                  </a:lnTo>
                  <a:lnTo>
                    <a:pt x="245" y="123"/>
                  </a:lnTo>
                  <a:lnTo>
                    <a:pt x="245" y="136"/>
                  </a:lnTo>
                  <a:lnTo>
                    <a:pt x="242" y="147"/>
                  </a:lnTo>
                  <a:lnTo>
                    <a:pt x="239" y="159"/>
                  </a:lnTo>
                  <a:lnTo>
                    <a:pt x="235" y="171"/>
                  </a:lnTo>
                  <a:lnTo>
                    <a:pt x="230" y="180"/>
                  </a:lnTo>
                  <a:lnTo>
                    <a:pt x="224" y="192"/>
                  </a:lnTo>
                  <a:lnTo>
                    <a:pt x="217" y="200"/>
                  </a:lnTo>
                  <a:lnTo>
                    <a:pt x="209" y="210"/>
                  </a:lnTo>
                  <a:lnTo>
                    <a:pt x="200" y="217"/>
                  </a:lnTo>
                  <a:lnTo>
                    <a:pt x="190" y="224"/>
                  </a:lnTo>
                  <a:lnTo>
                    <a:pt x="181" y="231"/>
                  </a:lnTo>
                  <a:lnTo>
                    <a:pt x="171" y="235"/>
                  </a:lnTo>
                  <a:lnTo>
                    <a:pt x="160" y="239"/>
                  </a:lnTo>
                  <a:lnTo>
                    <a:pt x="147" y="242"/>
                  </a:lnTo>
                  <a:lnTo>
                    <a:pt x="134" y="245"/>
                  </a:lnTo>
                  <a:lnTo>
                    <a:pt x="123" y="245"/>
                  </a:lnTo>
                  <a:lnTo>
                    <a:pt x="123" y="245"/>
                  </a:lnTo>
                  <a:lnTo>
                    <a:pt x="110" y="245"/>
                  </a:lnTo>
                  <a:lnTo>
                    <a:pt x="98" y="242"/>
                  </a:lnTo>
                  <a:lnTo>
                    <a:pt x="87" y="239"/>
                  </a:lnTo>
                  <a:lnTo>
                    <a:pt x="75" y="235"/>
                  </a:lnTo>
                  <a:lnTo>
                    <a:pt x="64" y="231"/>
                  </a:lnTo>
                  <a:lnTo>
                    <a:pt x="54" y="224"/>
                  </a:lnTo>
                  <a:lnTo>
                    <a:pt x="45" y="217"/>
                  </a:lnTo>
                  <a:lnTo>
                    <a:pt x="36" y="210"/>
                  </a:lnTo>
                  <a:lnTo>
                    <a:pt x="28" y="200"/>
                  </a:lnTo>
                  <a:lnTo>
                    <a:pt x="21" y="192"/>
                  </a:lnTo>
                  <a:lnTo>
                    <a:pt x="15" y="180"/>
                  </a:lnTo>
                  <a:lnTo>
                    <a:pt x="10" y="171"/>
                  </a:lnTo>
                  <a:lnTo>
                    <a:pt x="5" y="159"/>
                  </a:lnTo>
                  <a:lnTo>
                    <a:pt x="3" y="147"/>
                  </a:lnTo>
                  <a:lnTo>
                    <a:pt x="1" y="136"/>
                  </a:lnTo>
                  <a:lnTo>
                    <a:pt x="0" y="123"/>
                  </a:lnTo>
                  <a:close/>
                </a:path>
              </a:pathLst>
            </a:custGeom>
            <a:solidFill>
              <a:srgbClr val="75C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8250B169-9107-4753-B32B-FC5DB8EF80C2}"/>
                </a:ext>
              </a:extLst>
            </p:cNvPr>
            <p:cNvSpPr>
              <a:spLocks/>
            </p:cNvSpPr>
            <p:nvPr/>
          </p:nvSpPr>
          <p:spPr bwMode="auto">
            <a:xfrm>
              <a:off x="4873" y="1937"/>
              <a:ext cx="123" cy="122"/>
            </a:xfrm>
            <a:custGeom>
              <a:avLst/>
              <a:gdLst>
                <a:gd name="T0" fmla="*/ 0 w 245"/>
                <a:gd name="T1" fmla="*/ 123 h 245"/>
                <a:gd name="T2" fmla="*/ 3 w 245"/>
                <a:gd name="T3" fmla="*/ 98 h 245"/>
                <a:gd name="T4" fmla="*/ 10 w 245"/>
                <a:gd name="T5" fmla="*/ 75 h 245"/>
                <a:gd name="T6" fmla="*/ 21 w 245"/>
                <a:gd name="T7" fmla="*/ 54 h 245"/>
                <a:gd name="T8" fmla="*/ 36 w 245"/>
                <a:gd name="T9" fmla="*/ 36 h 245"/>
                <a:gd name="T10" fmla="*/ 54 w 245"/>
                <a:gd name="T11" fmla="*/ 21 h 245"/>
                <a:gd name="T12" fmla="*/ 75 w 245"/>
                <a:gd name="T13" fmla="*/ 9 h 245"/>
                <a:gd name="T14" fmla="*/ 98 w 245"/>
                <a:gd name="T15" fmla="*/ 2 h 245"/>
                <a:gd name="T16" fmla="*/ 123 w 245"/>
                <a:gd name="T17" fmla="*/ 0 h 245"/>
                <a:gd name="T18" fmla="*/ 134 w 245"/>
                <a:gd name="T19" fmla="*/ 1 h 245"/>
                <a:gd name="T20" fmla="*/ 160 w 245"/>
                <a:gd name="T21" fmla="*/ 5 h 245"/>
                <a:gd name="T22" fmla="*/ 181 w 245"/>
                <a:gd name="T23" fmla="*/ 15 h 245"/>
                <a:gd name="T24" fmla="*/ 200 w 245"/>
                <a:gd name="T25" fmla="*/ 28 h 245"/>
                <a:gd name="T26" fmla="*/ 217 w 245"/>
                <a:gd name="T27" fmla="*/ 44 h 245"/>
                <a:gd name="T28" fmla="*/ 230 w 245"/>
                <a:gd name="T29" fmla="*/ 64 h 245"/>
                <a:gd name="T30" fmla="*/ 239 w 245"/>
                <a:gd name="T31" fmla="*/ 86 h 245"/>
                <a:gd name="T32" fmla="*/ 245 w 245"/>
                <a:gd name="T33" fmla="*/ 110 h 245"/>
                <a:gd name="T34" fmla="*/ 245 w 245"/>
                <a:gd name="T35" fmla="*/ 123 h 245"/>
                <a:gd name="T36" fmla="*/ 242 w 245"/>
                <a:gd name="T37" fmla="*/ 147 h 245"/>
                <a:gd name="T38" fmla="*/ 235 w 245"/>
                <a:gd name="T39" fmla="*/ 171 h 245"/>
                <a:gd name="T40" fmla="*/ 224 w 245"/>
                <a:gd name="T41" fmla="*/ 192 h 245"/>
                <a:gd name="T42" fmla="*/ 209 w 245"/>
                <a:gd name="T43" fmla="*/ 210 h 245"/>
                <a:gd name="T44" fmla="*/ 190 w 245"/>
                <a:gd name="T45" fmla="*/ 224 h 245"/>
                <a:gd name="T46" fmla="*/ 171 w 245"/>
                <a:gd name="T47" fmla="*/ 235 h 245"/>
                <a:gd name="T48" fmla="*/ 147 w 245"/>
                <a:gd name="T49" fmla="*/ 242 h 245"/>
                <a:gd name="T50" fmla="*/ 123 w 245"/>
                <a:gd name="T51" fmla="*/ 245 h 245"/>
                <a:gd name="T52" fmla="*/ 110 w 245"/>
                <a:gd name="T53" fmla="*/ 245 h 245"/>
                <a:gd name="T54" fmla="*/ 87 w 245"/>
                <a:gd name="T55" fmla="*/ 239 h 245"/>
                <a:gd name="T56" fmla="*/ 64 w 245"/>
                <a:gd name="T57" fmla="*/ 231 h 245"/>
                <a:gd name="T58" fmla="*/ 45 w 245"/>
                <a:gd name="T59" fmla="*/ 217 h 245"/>
                <a:gd name="T60" fmla="*/ 28 w 245"/>
                <a:gd name="T61" fmla="*/ 200 h 245"/>
                <a:gd name="T62" fmla="*/ 15 w 245"/>
                <a:gd name="T63" fmla="*/ 180 h 245"/>
                <a:gd name="T64" fmla="*/ 5 w 245"/>
                <a:gd name="T65" fmla="*/ 159 h 245"/>
                <a:gd name="T66" fmla="*/ 1 w 245"/>
                <a:gd name="T67" fmla="*/ 1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5" h="245">
                  <a:moveTo>
                    <a:pt x="0" y="123"/>
                  </a:moveTo>
                  <a:lnTo>
                    <a:pt x="0" y="123"/>
                  </a:lnTo>
                  <a:lnTo>
                    <a:pt x="1" y="110"/>
                  </a:lnTo>
                  <a:lnTo>
                    <a:pt x="3" y="98"/>
                  </a:lnTo>
                  <a:lnTo>
                    <a:pt x="5" y="86"/>
                  </a:lnTo>
                  <a:lnTo>
                    <a:pt x="10" y="75"/>
                  </a:lnTo>
                  <a:lnTo>
                    <a:pt x="15" y="64"/>
                  </a:lnTo>
                  <a:lnTo>
                    <a:pt x="21" y="54"/>
                  </a:lnTo>
                  <a:lnTo>
                    <a:pt x="28" y="44"/>
                  </a:lnTo>
                  <a:lnTo>
                    <a:pt x="36" y="36"/>
                  </a:lnTo>
                  <a:lnTo>
                    <a:pt x="45" y="28"/>
                  </a:lnTo>
                  <a:lnTo>
                    <a:pt x="54" y="21"/>
                  </a:lnTo>
                  <a:lnTo>
                    <a:pt x="64" y="15"/>
                  </a:lnTo>
                  <a:lnTo>
                    <a:pt x="75" y="9"/>
                  </a:lnTo>
                  <a:lnTo>
                    <a:pt x="87" y="5"/>
                  </a:lnTo>
                  <a:lnTo>
                    <a:pt x="98" y="2"/>
                  </a:lnTo>
                  <a:lnTo>
                    <a:pt x="110" y="1"/>
                  </a:lnTo>
                  <a:lnTo>
                    <a:pt x="123" y="0"/>
                  </a:lnTo>
                  <a:lnTo>
                    <a:pt x="123" y="0"/>
                  </a:lnTo>
                  <a:lnTo>
                    <a:pt x="134" y="1"/>
                  </a:lnTo>
                  <a:lnTo>
                    <a:pt x="147" y="2"/>
                  </a:lnTo>
                  <a:lnTo>
                    <a:pt x="160" y="5"/>
                  </a:lnTo>
                  <a:lnTo>
                    <a:pt x="171" y="9"/>
                  </a:lnTo>
                  <a:lnTo>
                    <a:pt x="181" y="15"/>
                  </a:lnTo>
                  <a:lnTo>
                    <a:pt x="190" y="21"/>
                  </a:lnTo>
                  <a:lnTo>
                    <a:pt x="200" y="28"/>
                  </a:lnTo>
                  <a:lnTo>
                    <a:pt x="209" y="36"/>
                  </a:lnTo>
                  <a:lnTo>
                    <a:pt x="217" y="44"/>
                  </a:lnTo>
                  <a:lnTo>
                    <a:pt x="224" y="54"/>
                  </a:lnTo>
                  <a:lnTo>
                    <a:pt x="230" y="64"/>
                  </a:lnTo>
                  <a:lnTo>
                    <a:pt x="235" y="75"/>
                  </a:lnTo>
                  <a:lnTo>
                    <a:pt x="239" y="86"/>
                  </a:lnTo>
                  <a:lnTo>
                    <a:pt x="242" y="98"/>
                  </a:lnTo>
                  <a:lnTo>
                    <a:pt x="245" y="110"/>
                  </a:lnTo>
                  <a:lnTo>
                    <a:pt x="245" y="123"/>
                  </a:lnTo>
                  <a:lnTo>
                    <a:pt x="245" y="123"/>
                  </a:lnTo>
                  <a:lnTo>
                    <a:pt x="245" y="136"/>
                  </a:lnTo>
                  <a:lnTo>
                    <a:pt x="242" y="147"/>
                  </a:lnTo>
                  <a:lnTo>
                    <a:pt x="239" y="159"/>
                  </a:lnTo>
                  <a:lnTo>
                    <a:pt x="235" y="171"/>
                  </a:lnTo>
                  <a:lnTo>
                    <a:pt x="230" y="180"/>
                  </a:lnTo>
                  <a:lnTo>
                    <a:pt x="224" y="192"/>
                  </a:lnTo>
                  <a:lnTo>
                    <a:pt x="217" y="200"/>
                  </a:lnTo>
                  <a:lnTo>
                    <a:pt x="209" y="210"/>
                  </a:lnTo>
                  <a:lnTo>
                    <a:pt x="200" y="217"/>
                  </a:lnTo>
                  <a:lnTo>
                    <a:pt x="190" y="224"/>
                  </a:lnTo>
                  <a:lnTo>
                    <a:pt x="181" y="231"/>
                  </a:lnTo>
                  <a:lnTo>
                    <a:pt x="171" y="235"/>
                  </a:lnTo>
                  <a:lnTo>
                    <a:pt x="160" y="239"/>
                  </a:lnTo>
                  <a:lnTo>
                    <a:pt x="147" y="242"/>
                  </a:lnTo>
                  <a:lnTo>
                    <a:pt x="134" y="245"/>
                  </a:lnTo>
                  <a:lnTo>
                    <a:pt x="123" y="245"/>
                  </a:lnTo>
                  <a:lnTo>
                    <a:pt x="123" y="245"/>
                  </a:lnTo>
                  <a:lnTo>
                    <a:pt x="110" y="245"/>
                  </a:lnTo>
                  <a:lnTo>
                    <a:pt x="98" y="242"/>
                  </a:lnTo>
                  <a:lnTo>
                    <a:pt x="87" y="239"/>
                  </a:lnTo>
                  <a:lnTo>
                    <a:pt x="75" y="235"/>
                  </a:lnTo>
                  <a:lnTo>
                    <a:pt x="64" y="231"/>
                  </a:lnTo>
                  <a:lnTo>
                    <a:pt x="54" y="224"/>
                  </a:lnTo>
                  <a:lnTo>
                    <a:pt x="45" y="217"/>
                  </a:lnTo>
                  <a:lnTo>
                    <a:pt x="36" y="210"/>
                  </a:lnTo>
                  <a:lnTo>
                    <a:pt x="28" y="200"/>
                  </a:lnTo>
                  <a:lnTo>
                    <a:pt x="21" y="192"/>
                  </a:lnTo>
                  <a:lnTo>
                    <a:pt x="15" y="180"/>
                  </a:lnTo>
                  <a:lnTo>
                    <a:pt x="10" y="171"/>
                  </a:lnTo>
                  <a:lnTo>
                    <a:pt x="5" y="159"/>
                  </a:lnTo>
                  <a:lnTo>
                    <a:pt x="3" y="147"/>
                  </a:lnTo>
                  <a:lnTo>
                    <a:pt x="1" y="136"/>
                  </a:lnTo>
                  <a:lnTo>
                    <a:pt x="0" y="1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a:extLst>
                <a:ext uri="{FF2B5EF4-FFF2-40B4-BE49-F238E27FC236}">
                  <a16:creationId xmlns:a16="http://schemas.microsoft.com/office/drawing/2014/main" id="{12E383B1-3E28-4BD4-B753-5AFD410D8D3A}"/>
                </a:ext>
              </a:extLst>
            </p:cNvPr>
            <p:cNvSpPr>
              <a:spLocks noEditPoints="1"/>
            </p:cNvSpPr>
            <p:nvPr/>
          </p:nvSpPr>
          <p:spPr bwMode="auto">
            <a:xfrm>
              <a:off x="2684" y="1629"/>
              <a:ext cx="351" cy="423"/>
            </a:xfrm>
            <a:custGeom>
              <a:avLst/>
              <a:gdLst>
                <a:gd name="T0" fmla="*/ 702 w 702"/>
                <a:gd name="T1" fmla="*/ 405 h 847"/>
                <a:gd name="T2" fmla="*/ 699 w 702"/>
                <a:gd name="T3" fmla="*/ 457 h 847"/>
                <a:gd name="T4" fmla="*/ 695 w 702"/>
                <a:gd name="T5" fmla="*/ 506 h 847"/>
                <a:gd name="T6" fmla="*/ 685 w 702"/>
                <a:gd name="T7" fmla="*/ 551 h 847"/>
                <a:gd name="T8" fmla="*/ 673 w 702"/>
                <a:gd name="T9" fmla="*/ 593 h 847"/>
                <a:gd name="T10" fmla="*/ 657 w 702"/>
                <a:gd name="T11" fmla="*/ 632 h 847"/>
                <a:gd name="T12" fmla="*/ 638 w 702"/>
                <a:gd name="T13" fmla="*/ 669 h 847"/>
                <a:gd name="T14" fmla="*/ 614 w 702"/>
                <a:gd name="T15" fmla="*/ 702 h 847"/>
                <a:gd name="T16" fmla="*/ 587 w 702"/>
                <a:gd name="T17" fmla="*/ 733 h 847"/>
                <a:gd name="T18" fmla="*/ 573 w 702"/>
                <a:gd name="T19" fmla="*/ 746 h 847"/>
                <a:gd name="T20" fmla="*/ 542 w 702"/>
                <a:gd name="T21" fmla="*/ 771 h 847"/>
                <a:gd name="T22" fmla="*/ 507 w 702"/>
                <a:gd name="T23" fmla="*/ 794 h 847"/>
                <a:gd name="T24" fmla="*/ 471 w 702"/>
                <a:gd name="T25" fmla="*/ 812 h 847"/>
                <a:gd name="T26" fmla="*/ 430 w 702"/>
                <a:gd name="T27" fmla="*/ 826 h 847"/>
                <a:gd name="T28" fmla="*/ 387 w 702"/>
                <a:gd name="T29" fmla="*/ 836 h 847"/>
                <a:gd name="T30" fmla="*/ 342 w 702"/>
                <a:gd name="T31" fmla="*/ 844 h 847"/>
                <a:gd name="T32" fmla="*/ 293 w 702"/>
                <a:gd name="T33" fmla="*/ 847 h 847"/>
                <a:gd name="T34" fmla="*/ 0 w 702"/>
                <a:gd name="T35" fmla="*/ 847 h 847"/>
                <a:gd name="T36" fmla="*/ 286 w 702"/>
                <a:gd name="T37" fmla="*/ 0 h 847"/>
                <a:gd name="T38" fmla="*/ 334 w 702"/>
                <a:gd name="T39" fmla="*/ 2 h 847"/>
                <a:gd name="T40" fmla="*/ 380 w 702"/>
                <a:gd name="T41" fmla="*/ 6 h 847"/>
                <a:gd name="T42" fmla="*/ 422 w 702"/>
                <a:gd name="T43" fmla="*/ 14 h 847"/>
                <a:gd name="T44" fmla="*/ 463 w 702"/>
                <a:gd name="T45" fmla="*/ 25 h 847"/>
                <a:gd name="T46" fmla="*/ 499 w 702"/>
                <a:gd name="T47" fmla="*/ 41 h 847"/>
                <a:gd name="T48" fmla="*/ 534 w 702"/>
                <a:gd name="T49" fmla="*/ 59 h 847"/>
                <a:gd name="T50" fmla="*/ 565 w 702"/>
                <a:gd name="T51" fmla="*/ 80 h 847"/>
                <a:gd name="T52" fmla="*/ 593 w 702"/>
                <a:gd name="T53" fmla="*/ 104 h 847"/>
                <a:gd name="T54" fmla="*/ 607 w 702"/>
                <a:gd name="T55" fmla="*/ 118 h 847"/>
                <a:gd name="T56" fmla="*/ 631 w 702"/>
                <a:gd name="T57" fmla="*/ 146 h 847"/>
                <a:gd name="T58" fmla="*/ 650 w 702"/>
                <a:gd name="T59" fmla="*/ 178 h 847"/>
                <a:gd name="T60" fmla="*/ 667 w 702"/>
                <a:gd name="T61" fmla="*/ 213 h 847"/>
                <a:gd name="T62" fmla="*/ 681 w 702"/>
                <a:gd name="T63" fmla="*/ 251 h 847"/>
                <a:gd name="T64" fmla="*/ 691 w 702"/>
                <a:gd name="T65" fmla="*/ 292 h 847"/>
                <a:gd name="T66" fmla="*/ 698 w 702"/>
                <a:gd name="T67" fmla="*/ 335 h 847"/>
                <a:gd name="T68" fmla="*/ 701 w 702"/>
                <a:gd name="T69" fmla="*/ 381 h 847"/>
                <a:gd name="T70" fmla="*/ 470 w 702"/>
                <a:gd name="T71" fmla="*/ 414 h 847"/>
                <a:gd name="T72" fmla="*/ 470 w 702"/>
                <a:gd name="T73" fmla="*/ 386 h 847"/>
                <a:gd name="T74" fmla="*/ 464 w 702"/>
                <a:gd name="T75" fmla="*/ 335 h 847"/>
                <a:gd name="T76" fmla="*/ 453 w 702"/>
                <a:gd name="T77" fmla="*/ 292 h 847"/>
                <a:gd name="T78" fmla="*/ 436 w 702"/>
                <a:gd name="T79" fmla="*/ 257 h 847"/>
                <a:gd name="T80" fmla="*/ 425 w 702"/>
                <a:gd name="T81" fmla="*/ 241 h 847"/>
                <a:gd name="T82" fmla="*/ 399 w 702"/>
                <a:gd name="T83" fmla="*/ 216 h 847"/>
                <a:gd name="T84" fmla="*/ 369 w 702"/>
                <a:gd name="T85" fmla="*/ 199 h 847"/>
                <a:gd name="T86" fmla="*/ 331 w 702"/>
                <a:gd name="T87" fmla="*/ 188 h 847"/>
                <a:gd name="T88" fmla="*/ 289 w 702"/>
                <a:gd name="T89" fmla="*/ 185 h 847"/>
                <a:gd name="T90" fmla="*/ 223 w 702"/>
                <a:gd name="T91" fmla="*/ 659 h 847"/>
                <a:gd name="T92" fmla="*/ 273 w 702"/>
                <a:gd name="T93" fmla="*/ 659 h 847"/>
                <a:gd name="T94" fmla="*/ 321 w 702"/>
                <a:gd name="T95" fmla="*/ 656 h 847"/>
                <a:gd name="T96" fmla="*/ 362 w 702"/>
                <a:gd name="T97" fmla="*/ 645 h 847"/>
                <a:gd name="T98" fmla="*/ 395 w 702"/>
                <a:gd name="T99" fmla="*/ 625 h 847"/>
                <a:gd name="T100" fmla="*/ 422 w 702"/>
                <a:gd name="T101" fmla="*/ 599 h 847"/>
                <a:gd name="T102" fmla="*/ 433 w 702"/>
                <a:gd name="T103" fmla="*/ 583 h 847"/>
                <a:gd name="T104" fmla="*/ 451 w 702"/>
                <a:gd name="T105" fmla="*/ 544 h 847"/>
                <a:gd name="T106" fmla="*/ 463 w 702"/>
                <a:gd name="T107" fmla="*/ 498 h 847"/>
                <a:gd name="T108" fmla="*/ 470 w 702"/>
                <a:gd name="T109" fmla="*/ 44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847">
                  <a:moveTo>
                    <a:pt x="702" y="405"/>
                  </a:moveTo>
                  <a:lnTo>
                    <a:pt x="702" y="405"/>
                  </a:lnTo>
                  <a:lnTo>
                    <a:pt x="701" y="432"/>
                  </a:lnTo>
                  <a:lnTo>
                    <a:pt x="699" y="457"/>
                  </a:lnTo>
                  <a:lnTo>
                    <a:pt x="698" y="482"/>
                  </a:lnTo>
                  <a:lnTo>
                    <a:pt x="695" y="506"/>
                  </a:lnTo>
                  <a:lnTo>
                    <a:pt x="691" y="529"/>
                  </a:lnTo>
                  <a:lnTo>
                    <a:pt x="685" y="551"/>
                  </a:lnTo>
                  <a:lnTo>
                    <a:pt x="680" y="572"/>
                  </a:lnTo>
                  <a:lnTo>
                    <a:pt x="673" y="593"/>
                  </a:lnTo>
                  <a:lnTo>
                    <a:pt x="666" y="614"/>
                  </a:lnTo>
                  <a:lnTo>
                    <a:pt x="657" y="632"/>
                  </a:lnTo>
                  <a:lnTo>
                    <a:pt x="648" y="652"/>
                  </a:lnTo>
                  <a:lnTo>
                    <a:pt x="638" y="669"/>
                  </a:lnTo>
                  <a:lnTo>
                    <a:pt x="627" y="686"/>
                  </a:lnTo>
                  <a:lnTo>
                    <a:pt x="614" y="702"/>
                  </a:lnTo>
                  <a:lnTo>
                    <a:pt x="601" y="718"/>
                  </a:lnTo>
                  <a:lnTo>
                    <a:pt x="587" y="733"/>
                  </a:lnTo>
                  <a:lnTo>
                    <a:pt x="587" y="733"/>
                  </a:lnTo>
                  <a:lnTo>
                    <a:pt x="573" y="746"/>
                  </a:lnTo>
                  <a:lnTo>
                    <a:pt x="558" y="760"/>
                  </a:lnTo>
                  <a:lnTo>
                    <a:pt x="542" y="771"/>
                  </a:lnTo>
                  <a:lnTo>
                    <a:pt x="526" y="782"/>
                  </a:lnTo>
                  <a:lnTo>
                    <a:pt x="507" y="794"/>
                  </a:lnTo>
                  <a:lnTo>
                    <a:pt x="489" y="802"/>
                  </a:lnTo>
                  <a:lnTo>
                    <a:pt x="471" y="812"/>
                  </a:lnTo>
                  <a:lnTo>
                    <a:pt x="450" y="819"/>
                  </a:lnTo>
                  <a:lnTo>
                    <a:pt x="430" y="826"/>
                  </a:lnTo>
                  <a:lnTo>
                    <a:pt x="409" y="831"/>
                  </a:lnTo>
                  <a:lnTo>
                    <a:pt x="387" y="836"/>
                  </a:lnTo>
                  <a:lnTo>
                    <a:pt x="364" y="840"/>
                  </a:lnTo>
                  <a:lnTo>
                    <a:pt x="342" y="844"/>
                  </a:lnTo>
                  <a:lnTo>
                    <a:pt x="317" y="845"/>
                  </a:lnTo>
                  <a:lnTo>
                    <a:pt x="293" y="847"/>
                  </a:lnTo>
                  <a:lnTo>
                    <a:pt x="268" y="847"/>
                  </a:lnTo>
                  <a:lnTo>
                    <a:pt x="0" y="847"/>
                  </a:lnTo>
                  <a:lnTo>
                    <a:pt x="0" y="0"/>
                  </a:lnTo>
                  <a:lnTo>
                    <a:pt x="286" y="0"/>
                  </a:lnTo>
                  <a:lnTo>
                    <a:pt x="286" y="0"/>
                  </a:lnTo>
                  <a:lnTo>
                    <a:pt x="334" y="2"/>
                  </a:lnTo>
                  <a:lnTo>
                    <a:pt x="357" y="3"/>
                  </a:lnTo>
                  <a:lnTo>
                    <a:pt x="380" y="6"/>
                  </a:lnTo>
                  <a:lnTo>
                    <a:pt x="401" y="10"/>
                  </a:lnTo>
                  <a:lnTo>
                    <a:pt x="422" y="14"/>
                  </a:lnTo>
                  <a:lnTo>
                    <a:pt x="443" y="20"/>
                  </a:lnTo>
                  <a:lnTo>
                    <a:pt x="463" y="25"/>
                  </a:lnTo>
                  <a:lnTo>
                    <a:pt x="481" y="32"/>
                  </a:lnTo>
                  <a:lnTo>
                    <a:pt x="499" y="41"/>
                  </a:lnTo>
                  <a:lnTo>
                    <a:pt x="517" y="49"/>
                  </a:lnTo>
                  <a:lnTo>
                    <a:pt x="534" y="59"/>
                  </a:lnTo>
                  <a:lnTo>
                    <a:pt x="549" y="69"/>
                  </a:lnTo>
                  <a:lnTo>
                    <a:pt x="565" y="80"/>
                  </a:lnTo>
                  <a:lnTo>
                    <a:pt x="580" y="91"/>
                  </a:lnTo>
                  <a:lnTo>
                    <a:pt x="593" y="104"/>
                  </a:lnTo>
                  <a:lnTo>
                    <a:pt x="593" y="104"/>
                  </a:lnTo>
                  <a:lnTo>
                    <a:pt x="607" y="118"/>
                  </a:lnTo>
                  <a:lnTo>
                    <a:pt x="620" y="132"/>
                  </a:lnTo>
                  <a:lnTo>
                    <a:pt x="631" y="146"/>
                  </a:lnTo>
                  <a:lnTo>
                    <a:pt x="641" y="163"/>
                  </a:lnTo>
                  <a:lnTo>
                    <a:pt x="650" y="178"/>
                  </a:lnTo>
                  <a:lnTo>
                    <a:pt x="660" y="195"/>
                  </a:lnTo>
                  <a:lnTo>
                    <a:pt x="667" y="213"/>
                  </a:lnTo>
                  <a:lnTo>
                    <a:pt x="674" y="231"/>
                  </a:lnTo>
                  <a:lnTo>
                    <a:pt x="681" y="251"/>
                  </a:lnTo>
                  <a:lnTo>
                    <a:pt x="687" y="271"/>
                  </a:lnTo>
                  <a:lnTo>
                    <a:pt x="691" y="292"/>
                  </a:lnTo>
                  <a:lnTo>
                    <a:pt x="695" y="313"/>
                  </a:lnTo>
                  <a:lnTo>
                    <a:pt x="698" y="335"/>
                  </a:lnTo>
                  <a:lnTo>
                    <a:pt x="701" y="358"/>
                  </a:lnTo>
                  <a:lnTo>
                    <a:pt x="701" y="381"/>
                  </a:lnTo>
                  <a:lnTo>
                    <a:pt x="702" y="405"/>
                  </a:lnTo>
                  <a:close/>
                  <a:moveTo>
                    <a:pt x="470" y="414"/>
                  </a:moveTo>
                  <a:lnTo>
                    <a:pt x="470" y="414"/>
                  </a:lnTo>
                  <a:lnTo>
                    <a:pt x="470" y="386"/>
                  </a:lnTo>
                  <a:lnTo>
                    <a:pt x="467" y="359"/>
                  </a:lnTo>
                  <a:lnTo>
                    <a:pt x="464" y="335"/>
                  </a:lnTo>
                  <a:lnTo>
                    <a:pt x="458" y="313"/>
                  </a:lnTo>
                  <a:lnTo>
                    <a:pt x="453" y="292"/>
                  </a:lnTo>
                  <a:lnTo>
                    <a:pt x="444" y="274"/>
                  </a:lnTo>
                  <a:lnTo>
                    <a:pt x="436" y="257"/>
                  </a:lnTo>
                  <a:lnTo>
                    <a:pt x="425" y="241"/>
                  </a:lnTo>
                  <a:lnTo>
                    <a:pt x="425" y="241"/>
                  </a:lnTo>
                  <a:lnTo>
                    <a:pt x="413" y="227"/>
                  </a:lnTo>
                  <a:lnTo>
                    <a:pt x="399" y="216"/>
                  </a:lnTo>
                  <a:lnTo>
                    <a:pt x="384" y="206"/>
                  </a:lnTo>
                  <a:lnTo>
                    <a:pt x="369" y="199"/>
                  </a:lnTo>
                  <a:lnTo>
                    <a:pt x="350" y="192"/>
                  </a:lnTo>
                  <a:lnTo>
                    <a:pt x="331" y="188"/>
                  </a:lnTo>
                  <a:lnTo>
                    <a:pt x="310" y="185"/>
                  </a:lnTo>
                  <a:lnTo>
                    <a:pt x="289" y="185"/>
                  </a:lnTo>
                  <a:lnTo>
                    <a:pt x="223" y="185"/>
                  </a:lnTo>
                  <a:lnTo>
                    <a:pt x="223" y="659"/>
                  </a:lnTo>
                  <a:lnTo>
                    <a:pt x="273" y="659"/>
                  </a:lnTo>
                  <a:lnTo>
                    <a:pt x="273" y="659"/>
                  </a:lnTo>
                  <a:lnTo>
                    <a:pt x="297" y="659"/>
                  </a:lnTo>
                  <a:lnTo>
                    <a:pt x="321" y="656"/>
                  </a:lnTo>
                  <a:lnTo>
                    <a:pt x="342" y="651"/>
                  </a:lnTo>
                  <a:lnTo>
                    <a:pt x="362" y="645"/>
                  </a:lnTo>
                  <a:lnTo>
                    <a:pt x="378" y="637"/>
                  </a:lnTo>
                  <a:lnTo>
                    <a:pt x="395" y="625"/>
                  </a:lnTo>
                  <a:lnTo>
                    <a:pt x="409" y="613"/>
                  </a:lnTo>
                  <a:lnTo>
                    <a:pt x="422" y="599"/>
                  </a:lnTo>
                  <a:lnTo>
                    <a:pt x="422" y="599"/>
                  </a:lnTo>
                  <a:lnTo>
                    <a:pt x="433" y="583"/>
                  </a:lnTo>
                  <a:lnTo>
                    <a:pt x="443" y="565"/>
                  </a:lnTo>
                  <a:lnTo>
                    <a:pt x="451" y="544"/>
                  </a:lnTo>
                  <a:lnTo>
                    <a:pt x="458" y="523"/>
                  </a:lnTo>
                  <a:lnTo>
                    <a:pt x="463" y="498"/>
                  </a:lnTo>
                  <a:lnTo>
                    <a:pt x="467" y="473"/>
                  </a:lnTo>
                  <a:lnTo>
                    <a:pt x="470" y="445"/>
                  </a:lnTo>
                  <a:lnTo>
                    <a:pt x="470" y="4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a:extLst>
                <a:ext uri="{FF2B5EF4-FFF2-40B4-BE49-F238E27FC236}">
                  <a16:creationId xmlns:a16="http://schemas.microsoft.com/office/drawing/2014/main" id="{26C5646E-41ED-420C-A987-0D39B720B09D}"/>
                </a:ext>
              </a:extLst>
            </p:cNvPr>
            <p:cNvSpPr>
              <a:spLocks/>
            </p:cNvSpPr>
            <p:nvPr/>
          </p:nvSpPr>
          <p:spPr bwMode="auto">
            <a:xfrm>
              <a:off x="2684" y="1629"/>
              <a:ext cx="351" cy="423"/>
            </a:xfrm>
            <a:custGeom>
              <a:avLst/>
              <a:gdLst>
                <a:gd name="T0" fmla="*/ 702 w 702"/>
                <a:gd name="T1" fmla="*/ 405 h 847"/>
                <a:gd name="T2" fmla="*/ 699 w 702"/>
                <a:gd name="T3" fmla="*/ 457 h 847"/>
                <a:gd name="T4" fmla="*/ 695 w 702"/>
                <a:gd name="T5" fmla="*/ 506 h 847"/>
                <a:gd name="T6" fmla="*/ 685 w 702"/>
                <a:gd name="T7" fmla="*/ 551 h 847"/>
                <a:gd name="T8" fmla="*/ 673 w 702"/>
                <a:gd name="T9" fmla="*/ 593 h 847"/>
                <a:gd name="T10" fmla="*/ 657 w 702"/>
                <a:gd name="T11" fmla="*/ 632 h 847"/>
                <a:gd name="T12" fmla="*/ 638 w 702"/>
                <a:gd name="T13" fmla="*/ 669 h 847"/>
                <a:gd name="T14" fmla="*/ 614 w 702"/>
                <a:gd name="T15" fmla="*/ 702 h 847"/>
                <a:gd name="T16" fmla="*/ 587 w 702"/>
                <a:gd name="T17" fmla="*/ 733 h 847"/>
                <a:gd name="T18" fmla="*/ 573 w 702"/>
                <a:gd name="T19" fmla="*/ 746 h 847"/>
                <a:gd name="T20" fmla="*/ 542 w 702"/>
                <a:gd name="T21" fmla="*/ 771 h 847"/>
                <a:gd name="T22" fmla="*/ 507 w 702"/>
                <a:gd name="T23" fmla="*/ 794 h 847"/>
                <a:gd name="T24" fmla="*/ 471 w 702"/>
                <a:gd name="T25" fmla="*/ 812 h 847"/>
                <a:gd name="T26" fmla="*/ 430 w 702"/>
                <a:gd name="T27" fmla="*/ 826 h 847"/>
                <a:gd name="T28" fmla="*/ 387 w 702"/>
                <a:gd name="T29" fmla="*/ 836 h 847"/>
                <a:gd name="T30" fmla="*/ 342 w 702"/>
                <a:gd name="T31" fmla="*/ 844 h 847"/>
                <a:gd name="T32" fmla="*/ 293 w 702"/>
                <a:gd name="T33" fmla="*/ 847 h 847"/>
                <a:gd name="T34" fmla="*/ 0 w 702"/>
                <a:gd name="T35" fmla="*/ 847 h 847"/>
                <a:gd name="T36" fmla="*/ 286 w 702"/>
                <a:gd name="T37" fmla="*/ 0 h 847"/>
                <a:gd name="T38" fmla="*/ 334 w 702"/>
                <a:gd name="T39" fmla="*/ 2 h 847"/>
                <a:gd name="T40" fmla="*/ 380 w 702"/>
                <a:gd name="T41" fmla="*/ 6 h 847"/>
                <a:gd name="T42" fmla="*/ 422 w 702"/>
                <a:gd name="T43" fmla="*/ 14 h 847"/>
                <a:gd name="T44" fmla="*/ 463 w 702"/>
                <a:gd name="T45" fmla="*/ 25 h 847"/>
                <a:gd name="T46" fmla="*/ 499 w 702"/>
                <a:gd name="T47" fmla="*/ 41 h 847"/>
                <a:gd name="T48" fmla="*/ 534 w 702"/>
                <a:gd name="T49" fmla="*/ 59 h 847"/>
                <a:gd name="T50" fmla="*/ 565 w 702"/>
                <a:gd name="T51" fmla="*/ 80 h 847"/>
                <a:gd name="T52" fmla="*/ 593 w 702"/>
                <a:gd name="T53" fmla="*/ 104 h 847"/>
                <a:gd name="T54" fmla="*/ 607 w 702"/>
                <a:gd name="T55" fmla="*/ 118 h 847"/>
                <a:gd name="T56" fmla="*/ 631 w 702"/>
                <a:gd name="T57" fmla="*/ 146 h 847"/>
                <a:gd name="T58" fmla="*/ 650 w 702"/>
                <a:gd name="T59" fmla="*/ 178 h 847"/>
                <a:gd name="T60" fmla="*/ 667 w 702"/>
                <a:gd name="T61" fmla="*/ 213 h 847"/>
                <a:gd name="T62" fmla="*/ 681 w 702"/>
                <a:gd name="T63" fmla="*/ 251 h 847"/>
                <a:gd name="T64" fmla="*/ 691 w 702"/>
                <a:gd name="T65" fmla="*/ 292 h 847"/>
                <a:gd name="T66" fmla="*/ 698 w 702"/>
                <a:gd name="T67" fmla="*/ 335 h 847"/>
                <a:gd name="T68" fmla="*/ 701 w 702"/>
                <a:gd name="T69" fmla="*/ 381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2" h="847">
                  <a:moveTo>
                    <a:pt x="702" y="405"/>
                  </a:moveTo>
                  <a:lnTo>
                    <a:pt x="702" y="405"/>
                  </a:lnTo>
                  <a:lnTo>
                    <a:pt x="701" y="432"/>
                  </a:lnTo>
                  <a:lnTo>
                    <a:pt x="699" y="457"/>
                  </a:lnTo>
                  <a:lnTo>
                    <a:pt x="698" y="482"/>
                  </a:lnTo>
                  <a:lnTo>
                    <a:pt x="695" y="506"/>
                  </a:lnTo>
                  <a:lnTo>
                    <a:pt x="691" y="529"/>
                  </a:lnTo>
                  <a:lnTo>
                    <a:pt x="685" y="551"/>
                  </a:lnTo>
                  <a:lnTo>
                    <a:pt x="680" y="572"/>
                  </a:lnTo>
                  <a:lnTo>
                    <a:pt x="673" y="593"/>
                  </a:lnTo>
                  <a:lnTo>
                    <a:pt x="666" y="614"/>
                  </a:lnTo>
                  <a:lnTo>
                    <a:pt x="657" y="632"/>
                  </a:lnTo>
                  <a:lnTo>
                    <a:pt x="648" y="652"/>
                  </a:lnTo>
                  <a:lnTo>
                    <a:pt x="638" y="669"/>
                  </a:lnTo>
                  <a:lnTo>
                    <a:pt x="627" y="686"/>
                  </a:lnTo>
                  <a:lnTo>
                    <a:pt x="614" y="702"/>
                  </a:lnTo>
                  <a:lnTo>
                    <a:pt x="601" y="718"/>
                  </a:lnTo>
                  <a:lnTo>
                    <a:pt x="587" y="733"/>
                  </a:lnTo>
                  <a:lnTo>
                    <a:pt x="587" y="733"/>
                  </a:lnTo>
                  <a:lnTo>
                    <a:pt x="573" y="746"/>
                  </a:lnTo>
                  <a:lnTo>
                    <a:pt x="558" y="760"/>
                  </a:lnTo>
                  <a:lnTo>
                    <a:pt x="542" y="771"/>
                  </a:lnTo>
                  <a:lnTo>
                    <a:pt x="526" y="782"/>
                  </a:lnTo>
                  <a:lnTo>
                    <a:pt x="507" y="794"/>
                  </a:lnTo>
                  <a:lnTo>
                    <a:pt x="489" y="802"/>
                  </a:lnTo>
                  <a:lnTo>
                    <a:pt x="471" y="812"/>
                  </a:lnTo>
                  <a:lnTo>
                    <a:pt x="450" y="819"/>
                  </a:lnTo>
                  <a:lnTo>
                    <a:pt x="430" y="826"/>
                  </a:lnTo>
                  <a:lnTo>
                    <a:pt x="409" y="831"/>
                  </a:lnTo>
                  <a:lnTo>
                    <a:pt x="387" y="836"/>
                  </a:lnTo>
                  <a:lnTo>
                    <a:pt x="364" y="840"/>
                  </a:lnTo>
                  <a:lnTo>
                    <a:pt x="342" y="844"/>
                  </a:lnTo>
                  <a:lnTo>
                    <a:pt x="317" y="845"/>
                  </a:lnTo>
                  <a:lnTo>
                    <a:pt x="293" y="847"/>
                  </a:lnTo>
                  <a:lnTo>
                    <a:pt x="268" y="847"/>
                  </a:lnTo>
                  <a:lnTo>
                    <a:pt x="0" y="847"/>
                  </a:lnTo>
                  <a:lnTo>
                    <a:pt x="0" y="0"/>
                  </a:lnTo>
                  <a:lnTo>
                    <a:pt x="286" y="0"/>
                  </a:lnTo>
                  <a:lnTo>
                    <a:pt x="286" y="0"/>
                  </a:lnTo>
                  <a:lnTo>
                    <a:pt x="334" y="2"/>
                  </a:lnTo>
                  <a:lnTo>
                    <a:pt x="357" y="3"/>
                  </a:lnTo>
                  <a:lnTo>
                    <a:pt x="380" y="6"/>
                  </a:lnTo>
                  <a:lnTo>
                    <a:pt x="401" y="10"/>
                  </a:lnTo>
                  <a:lnTo>
                    <a:pt x="422" y="14"/>
                  </a:lnTo>
                  <a:lnTo>
                    <a:pt x="443" y="20"/>
                  </a:lnTo>
                  <a:lnTo>
                    <a:pt x="463" y="25"/>
                  </a:lnTo>
                  <a:lnTo>
                    <a:pt x="481" y="32"/>
                  </a:lnTo>
                  <a:lnTo>
                    <a:pt x="499" y="41"/>
                  </a:lnTo>
                  <a:lnTo>
                    <a:pt x="517" y="49"/>
                  </a:lnTo>
                  <a:lnTo>
                    <a:pt x="534" y="59"/>
                  </a:lnTo>
                  <a:lnTo>
                    <a:pt x="549" y="69"/>
                  </a:lnTo>
                  <a:lnTo>
                    <a:pt x="565" y="80"/>
                  </a:lnTo>
                  <a:lnTo>
                    <a:pt x="580" y="91"/>
                  </a:lnTo>
                  <a:lnTo>
                    <a:pt x="593" y="104"/>
                  </a:lnTo>
                  <a:lnTo>
                    <a:pt x="593" y="104"/>
                  </a:lnTo>
                  <a:lnTo>
                    <a:pt x="607" y="118"/>
                  </a:lnTo>
                  <a:lnTo>
                    <a:pt x="620" y="132"/>
                  </a:lnTo>
                  <a:lnTo>
                    <a:pt x="631" y="146"/>
                  </a:lnTo>
                  <a:lnTo>
                    <a:pt x="641" y="163"/>
                  </a:lnTo>
                  <a:lnTo>
                    <a:pt x="650" y="178"/>
                  </a:lnTo>
                  <a:lnTo>
                    <a:pt x="660" y="195"/>
                  </a:lnTo>
                  <a:lnTo>
                    <a:pt x="667" y="213"/>
                  </a:lnTo>
                  <a:lnTo>
                    <a:pt x="674" y="231"/>
                  </a:lnTo>
                  <a:lnTo>
                    <a:pt x="681" y="251"/>
                  </a:lnTo>
                  <a:lnTo>
                    <a:pt x="687" y="271"/>
                  </a:lnTo>
                  <a:lnTo>
                    <a:pt x="691" y="292"/>
                  </a:lnTo>
                  <a:lnTo>
                    <a:pt x="695" y="313"/>
                  </a:lnTo>
                  <a:lnTo>
                    <a:pt x="698" y="335"/>
                  </a:lnTo>
                  <a:lnTo>
                    <a:pt x="701" y="358"/>
                  </a:lnTo>
                  <a:lnTo>
                    <a:pt x="701" y="381"/>
                  </a:lnTo>
                  <a:lnTo>
                    <a:pt x="702" y="40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a:extLst>
                <a:ext uri="{FF2B5EF4-FFF2-40B4-BE49-F238E27FC236}">
                  <a16:creationId xmlns:a16="http://schemas.microsoft.com/office/drawing/2014/main" id="{D12A830A-1AE1-471E-BA52-62FF115EB7B3}"/>
                </a:ext>
              </a:extLst>
            </p:cNvPr>
            <p:cNvSpPr>
              <a:spLocks/>
            </p:cNvSpPr>
            <p:nvPr/>
          </p:nvSpPr>
          <p:spPr bwMode="auto">
            <a:xfrm>
              <a:off x="2795" y="1722"/>
              <a:ext cx="124" cy="237"/>
            </a:xfrm>
            <a:custGeom>
              <a:avLst/>
              <a:gdLst>
                <a:gd name="T0" fmla="*/ 247 w 247"/>
                <a:gd name="T1" fmla="*/ 229 h 474"/>
                <a:gd name="T2" fmla="*/ 247 w 247"/>
                <a:gd name="T3" fmla="*/ 229 h 474"/>
                <a:gd name="T4" fmla="*/ 247 w 247"/>
                <a:gd name="T5" fmla="*/ 201 h 474"/>
                <a:gd name="T6" fmla="*/ 244 w 247"/>
                <a:gd name="T7" fmla="*/ 174 h 474"/>
                <a:gd name="T8" fmla="*/ 241 w 247"/>
                <a:gd name="T9" fmla="*/ 150 h 474"/>
                <a:gd name="T10" fmla="*/ 235 w 247"/>
                <a:gd name="T11" fmla="*/ 128 h 474"/>
                <a:gd name="T12" fmla="*/ 230 w 247"/>
                <a:gd name="T13" fmla="*/ 107 h 474"/>
                <a:gd name="T14" fmla="*/ 221 w 247"/>
                <a:gd name="T15" fmla="*/ 89 h 474"/>
                <a:gd name="T16" fmla="*/ 213 w 247"/>
                <a:gd name="T17" fmla="*/ 72 h 474"/>
                <a:gd name="T18" fmla="*/ 202 w 247"/>
                <a:gd name="T19" fmla="*/ 56 h 474"/>
                <a:gd name="T20" fmla="*/ 202 w 247"/>
                <a:gd name="T21" fmla="*/ 56 h 474"/>
                <a:gd name="T22" fmla="*/ 190 w 247"/>
                <a:gd name="T23" fmla="*/ 42 h 474"/>
                <a:gd name="T24" fmla="*/ 176 w 247"/>
                <a:gd name="T25" fmla="*/ 31 h 474"/>
                <a:gd name="T26" fmla="*/ 161 w 247"/>
                <a:gd name="T27" fmla="*/ 21 h 474"/>
                <a:gd name="T28" fmla="*/ 146 w 247"/>
                <a:gd name="T29" fmla="*/ 14 h 474"/>
                <a:gd name="T30" fmla="*/ 127 w 247"/>
                <a:gd name="T31" fmla="*/ 7 h 474"/>
                <a:gd name="T32" fmla="*/ 108 w 247"/>
                <a:gd name="T33" fmla="*/ 3 h 474"/>
                <a:gd name="T34" fmla="*/ 87 w 247"/>
                <a:gd name="T35" fmla="*/ 0 h 474"/>
                <a:gd name="T36" fmla="*/ 66 w 247"/>
                <a:gd name="T37" fmla="*/ 0 h 474"/>
                <a:gd name="T38" fmla="*/ 0 w 247"/>
                <a:gd name="T39" fmla="*/ 0 h 474"/>
                <a:gd name="T40" fmla="*/ 0 w 247"/>
                <a:gd name="T41" fmla="*/ 474 h 474"/>
                <a:gd name="T42" fmla="*/ 50 w 247"/>
                <a:gd name="T43" fmla="*/ 474 h 474"/>
                <a:gd name="T44" fmla="*/ 50 w 247"/>
                <a:gd name="T45" fmla="*/ 474 h 474"/>
                <a:gd name="T46" fmla="*/ 74 w 247"/>
                <a:gd name="T47" fmla="*/ 474 h 474"/>
                <a:gd name="T48" fmla="*/ 98 w 247"/>
                <a:gd name="T49" fmla="*/ 471 h 474"/>
                <a:gd name="T50" fmla="*/ 119 w 247"/>
                <a:gd name="T51" fmla="*/ 466 h 474"/>
                <a:gd name="T52" fmla="*/ 139 w 247"/>
                <a:gd name="T53" fmla="*/ 460 h 474"/>
                <a:gd name="T54" fmla="*/ 155 w 247"/>
                <a:gd name="T55" fmla="*/ 452 h 474"/>
                <a:gd name="T56" fmla="*/ 172 w 247"/>
                <a:gd name="T57" fmla="*/ 440 h 474"/>
                <a:gd name="T58" fmla="*/ 186 w 247"/>
                <a:gd name="T59" fmla="*/ 428 h 474"/>
                <a:gd name="T60" fmla="*/ 199 w 247"/>
                <a:gd name="T61" fmla="*/ 414 h 474"/>
                <a:gd name="T62" fmla="*/ 199 w 247"/>
                <a:gd name="T63" fmla="*/ 414 h 474"/>
                <a:gd name="T64" fmla="*/ 210 w 247"/>
                <a:gd name="T65" fmla="*/ 398 h 474"/>
                <a:gd name="T66" fmla="*/ 220 w 247"/>
                <a:gd name="T67" fmla="*/ 380 h 474"/>
                <a:gd name="T68" fmla="*/ 228 w 247"/>
                <a:gd name="T69" fmla="*/ 359 h 474"/>
                <a:gd name="T70" fmla="*/ 235 w 247"/>
                <a:gd name="T71" fmla="*/ 338 h 474"/>
                <a:gd name="T72" fmla="*/ 240 w 247"/>
                <a:gd name="T73" fmla="*/ 313 h 474"/>
                <a:gd name="T74" fmla="*/ 244 w 247"/>
                <a:gd name="T75" fmla="*/ 288 h 474"/>
                <a:gd name="T76" fmla="*/ 247 w 247"/>
                <a:gd name="T77" fmla="*/ 260 h 474"/>
                <a:gd name="T78" fmla="*/ 247 w 247"/>
                <a:gd name="T79" fmla="*/ 229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7" h="474">
                  <a:moveTo>
                    <a:pt x="247" y="229"/>
                  </a:moveTo>
                  <a:lnTo>
                    <a:pt x="247" y="229"/>
                  </a:lnTo>
                  <a:lnTo>
                    <a:pt x="247" y="201"/>
                  </a:lnTo>
                  <a:lnTo>
                    <a:pt x="244" y="174"/>
                  </a:lnTo>
                  <a:lnTo>
                    <a:pt x="241" y="150"/>
                  </a:lnTo>
                  <a:lnTo>
                    <a:pt x="235" y="128"/>
                  </a:lnTo>
                  <a:lnTo>
                    <a:pt x="230" y="107"/>
                  </a:lnTo>
                  <a:lnTo>
                    <a:pt x="221" y="89"/>
                  </a:lnTo>
                  <a:lnTo>
                    <a:pt x="213" y="72"/>
                  </a:lnTo>
                  <a:lnTo>
                    <a:pt x="202" y="56"/>
                  </a:lnTo>
                  <a:lnTo>
                    <a:pt x="202" y="56"/>
                  </a:lnTo>
                  <a:lnTo>
                    <a:pt x="190" y="42"/>
                  </a:lnTo>
                  <a:lnTo>
                    <a:pt x="176" y="31"/>
                  </a:lnTo>
                  <a:lnTo>
                    <a:pt x="161" y="21"/>
                  </a:lnTo>
                  <a:lnTo>
                    <a:pt x="146" y="14"/>
                  </a:lnTo>
                  <a:lnTo>
                    <a:pt x="127" y="7"/>
                  </a:lnTo>
                  <a:lnTo>
                    <a:pt x="108" y="3"/>
                  </a:lnTo>
                  <a:lnTo>
                    <a:pt x="87" y="0"/>
                  </a:lnTo>
                  <a:lnTo>
                    <a:pt x="66" y="0"/>
                  </a:lnTo>
                  <a:lnTo>
                    <a:pt x="0" y="0"/>
                  </a:lnTo>
                  <a:lnTo>
                    <a:pt x="0" y="474"/>
                  </a:lnTo>
                  <a:lnTo>
                    <a:pt x="50" y="474"/>
                  </a:lnTo>
                  <a:lnTo>
                    <a:pt x="50" y="474"/>
                  </a:lnTo>
                  <a:lnTo>
                    <a:pt x="74" y="474"/>
                  </a:lnTo>
                  <a:lnTo>
                    <a:pt x="98" y="471"/>
                  </a:lnTo>
                  <a:lnTo>
                    <a:pt x="119" y="466"/>
                  </a:lnTo>
                  <a:lnTo>
                    <a:pt x="139" y="460"/>
                  </a:lnTo>
                  <a:lnTo>
                    <a:pt x="155" y="452"/>
                  </a:lnTo>
                  <a:lnTo>
                    <a:pt x="172" y="440"/>
                  </a:lnTo>
                  <a:lnTo>
                    <a:pt x="186" y="428"/>
                  </a:lnTo>
                  <a:lnTo>
                    <a:pt x="199" y="414"/>
                  </a:lnTo>
                  <a:lnTo>
                    <a:pt x="199" y="414"/>
                  </a:lnTo>
                  <a:lnTo>
                    <a:pt x="210" y="398"/>
                  </a:lnTo>
                  <a:lnTo>
                    <a:pt x="220" y="380"/>
                  </a:lnTo>
                  <a:lnTo>
                    <a:pt x="228" y="359"/>
                  </a:lnTo>
                  <a:lnTo>
                    <a:pt x="235" y="338"/>
                  </a:lnTo>
                  <a:lnTo>
                    <a:pt x="240" y="313"/>
                  </a:lnTo>
                  <a:lnTo>
                    <a:pt x="244" y="288"/>
                  </a:lnTo>
                  <a:lnTo>
                    <a:pt x="247" y="260"/>
                  </a:lnTo>
                  <a:lnTo>
                    <a:pt x="247" y="2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10">
              <a:extLst>
                <a:ext uri="{FF2B5EF4-FFF2-40B4-BE49-F238E27FC236}">
                  <a16:creationId xmlns:a16="http://schemas.microsoft.com/office/drawing/2014/main" id="{E6198611-F23D-4059-8CBA-4FD88245FB46}"/>
                </a:ext>
              </a:extLst>
            </p:cNvPr>
            <p:cNvSpPr>
              <a:spLocks noChangeArrowheads="1"/>
            </p:cNvSpPr>
            <p:nvPr/>
          </p:nvSpPr>
          <p:spPr bwMode="auto">
            <a:xfrm>
              <a:off x="3406" y="1627"/>
              <a:ext cx="106" cy="4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1">
              <a:extLst>
                <a:ext uri="{FF2B5EF4-FFF2-40B4-BE49-F238E27FC236}">
                  <a16:creationId xmlns:a16="http://schemas.microsoft.com/office/drawing/2014/main" id="{4EE3AAE3-4A00-47E9-B0F1-A3D1E5E6B9CF}"/>
                </a:ext>
              </a:extLst>
            </p:cNvPr>
            <p:cNvSpPr>
              <a:spLocks noEditPoints="1"/>
            </p:cNvSpPr>
            <p:nvPr/>
          </p:nvSpPr>
          <p:spPr bwMode="auto">
            <a:xfrm>
              <a:off x="3554" y="1731"/>
              <a:ext cx="308" cy="327"/>
            </a:xfrm>
            <a:custGeom>
              <a:avLst/>
              <a:gdLst>
                <a:gd name="T0" fmla="*/ 616 w 617"/>
                <a:gd name="T1" fmla="*/ 365 h 655"/>
                <a:gd name="T2" fmla="*/ 596 w 617"/>
                <a:gd name="T3" fmla="*/ 464 h 655"/>
                <a:gd name="T4" fmla="*/ 554 w 617"/>
                <a:gd name="T5" fmla="*/ 546 h 655"/>
                <a:gd name="T6" fmla="*/ 525 w 617"/>
                <a:gd name="T7" fmla="*/ 579 h 655"/>
                <a:gd name="T8" fmla="*/ 491 w 617"/>
                <a:gd name="T9" fmla="*/ 607 h 655"/>
                <a:gd name="T10" fmla="*/ 438 w 617"/>
                <a:gd name="T11" fmla="*/ 634 h 655"/>
                <a:gd name="T12" fmla="*/ 342 w 617"/>
                <a:gd name="T13" fmla="*/ 654 h 655"/>
                <a:gd name="T14" fmla="*/ 272 w 617"/>
                <a:gd name="T15" fmla="*/ 654 h 655"/>
                <a:gd name="T16" fmla="*/ 181 w 617"/>
                <a:gd name="T17" fmla="*/ 634 h 655"/>
                <a:gd name="T18" fmla="*/ 106 w 617"/>
                <a:gd name="T19" fmla="*/ 588 h 655"/>
                <a:gd name="T20" fmla="*/ 64 w 617"/>
                <a:gd name="T21" fmla="*/ 544 h 655"/>
                <a:gd name="T22" fmla="*/ 21 w 617"/>
                <a:gd name="T23" fmla="*/ 463 h 655"/>
                <a:gd name="T24" fmla="*/ 2 w 617"/>
                <a:gd name="T25" fmla="*/ 363 h 655"/>
                <a:gd name="T26" fmla="*/ 2 w 617"/>
                <a:gd name="T27" fmla="*/ 289 h 655"/>
                <a:gd name="T28" fmla="*/ 21 w 617"/>
                <a:gd name="T29" fmla="*/ 190 h 655"/>
                <a:gd name="T30" fmla="*/ 64 w 617"/>
                <a:gd name="T31" fmla="*/ 110 h 655"/>
                <a:gd name="T32" fmla="*/ 103 w 617"/>
                <a:gd name="T33" fmla="*/ 66 h 655"/>
                <a:gd name="T34" fmla="*/ 152 w 617"/>
                <a:gd name="T35" fmla="*/ 34 h 655"/>
                <a:gd name="T36" fmla="*/ 242 w 617"/>
                <a:gd name="T37" fmla="*/ 6 h 655"/>
                <a:gd name="T38" fmla="*/ 310 w 617"/>
                <a:gd name="T39" fmla="*/ 0 h 655"/>
                <a:gd name="T40" fmla="*/ 376 w 617"/>
                <a:gd name="T41" fmla="*/ 6 h 655"/>
                <a:gd name="T42" fmla="*/ 435 w 617"/>
                <a:gd name="T43" fmla="*/ 23 h 655"/>
                <a:gd name="T44" fmla="*/ 471 w 617"/>
                <a:gd name="T45" fmla="*/ 41 h 655"/>
                <a:gd name="T46" fmla="*/ 519 w 617"/>
                <a:gd name="T47" fmla="*/ 75 h 655"/>
                <a:gd name="T48" fmla="*/ 558 w 617"/>
                <a:gd name="T49" fmla="*/ 120 h 655"/>
                <a:gd name="T50" fmla="*/ 579 w 617"/>
                <a:gd name="T51" fmla="*/ 155 h 655"/>
                <a:gd name="T52" fmla="*/ 602 w 617"/>
                <a:gd name="T53" fmla="*/ 214 h 655"/>
                <a:gd name="T54" fmla="*/ 614 w 617"/>
                <a:gd name="T55" fmla="*/ 279 h 655"/>
                <a:gd name="T56" fmla="*/ 216 w 617"/>
                <a:gd name="T57" fmla="*/ 327 h 655"/>
                <a:gd name="T58" fmla="*/ 222 w 617"/>
                <a:gd name="T59" fmla="*/ 399 h 655"/>
                <a:gd name="T60" fmla="*/ 233 w 617"/>
                <a:gd name="T61" fmla="*/ 439 h 655"/>
                <a:gd name="T62" fmla="*/ 244 w 617"/>
                <a:gd name="T63" fmla="*/ 462 h 655"/>
                <a:gd name="T64" fmla="*/ 267 w 617"/>
                <a:gd name="T65" fmla="*/ 483 h 655"/>
                <a:gd name="T66" fmla="*/ 298 w 617"/>
                <a:gd name="T67" fmla="*/ 494 h 655"/>
                <a:gd name="T68" fmla="*/ 321 w 617"/>
                <a:gd name="T69" fmla="*/ 494 h 655"/>
                <a:gd name="T70" fmla="*/ 352 w 617"/>
                <a:gd name="T71" fmla="*/ 483 h 655"/>
                <a:gd name="T72" fmla="*/ 373 w 617"/>
                <a:gd name="T73" fmla="*/ 462 h 655"/>
                <a:gd name="T74" fmla="*/ 384 w 617"/>
                <a:gd name="T75" fmla="*/ 439 h 655"/>
                <a:gd name="T76" fmla="*/ 394 w 617"/>
                <a:gd name="T77" fmla="*/ 399 h 655"/>
                <a:gd name="T78" fmla="*/ 400 w 617"/>
                <a:gd name="T79" fmla="*/ 327 h 655"/>
                <a:gd name="T80" fmla="*/ 391 w 617"/>
                <a:gd name="T81" fmla="*/ 242 h 655"/>
                <a:gd name="T82" fmla="*/ 379 w 617"/>
                <a:gd name="T83" fmla="*/ 205 h 655"/>
                <a:gd name="T84" fmla="*/ 368 w 617"/>
                <a:gd name="T85" fmla="*/ 187 h 655"/>
                <a:gd name="T86" fmla="*/ 342 w 617"/>
                <a:gd name="T87" fmla="*/ 169 h 655"/>
                <a:gd name="T88" fmla="*/ 309 w 617"/>
                <a:gd name="T89" fmla="*/ 163 h 655"/>
                <a:gd name="T90" fmla="*/ 285 w 617"/>
                <a:gd name="T91" fmla="*/ 166 h 655"/>
                <a:gd name="T92" fmla="*/ 258 w 617"/>
                <a:gd name="T93" fmla="*/ 180 h 655"/>
                <a:gd name="T94" fmla="*/ 239 w 617"/>
                <a:gd name="T95" fmla="*/ 205 h 655"/>
                <a:gd name="T96" fmla="*/ 229 w 617"/>
                <a:gd name="T97" fmla="*/ 228 h 655"/>
                <a:gd name="T98" fmla="*/ 218 w 617"/>
                <a:gd name="T99" fmla="*/ 28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7" h="655">
                  <a:moveTo>
                    <a:pt x="617" y="327"/>
                  </a:moveTo>
                  <a:lnTo>
                    <a:pt x="617" y="327"/>
                  </a:lnTo>
                  <a:lnTo>
                    <a:pt x="616" y="365"/>
                  </a:lnTo>
                  <a:lnTo>
                    <a:pt x="612" y="400"/>
                  </a:lnTo>
                  <a:lnTo>
                    <a:pt x="606" y="434"/>
                  </a:lnTo>
                  <a:lnTo>
                    <a:pt x="596" y="464"/>
                  </a:lnTo>
                  <a:lnTo>
                    <a:pt x="585" y="494"/>
                  </a:lnTo>
                  <a:lnTo>
                    <a:pt x="571" y="522"/>
                  </a:lnTo>
                  <a:lnTo>
                    <a:pt x="554" y="546"/>
                  </a:lnTo>
                  <a:lnTo>
                    <a:pt x="536" y="570"/>
                  </a:lnTo>
                  <a:lnTo>
                    <a:pt x="536" y="570"/>
                  </a:lnTo>
                  <a:lnTo>
                    <a:pt x="525" y="579"/>
                  </a:lnTo>
                  <a:lnTo>
                    <a:pt x="513" y="589"/>
                  </a:lnTo>
                  <a:lnTo>
                    <a:pt x="502" y="599"/>
                  </a:lnTo>
                  <a:lnTo>
                    <a:pt x="491" y="607"/>
                  </a:lnTo>
                  <a:lnTo>
                    <a:pt x="478" y="614"/>
                  </a:lnTo>
                  <a:lnTo>
                    <a:pt x="464" y="621"/>
                  </a:lnTo>
                  <a:lnTo>
                    <a:pt x="438" y="634"/>
                  </a:lnTo>
                  <a:lnTo>
                    <a:pt x="408" y="644"/>
                  </a:lnTo>
                  <a:lnTo>
                    <a:pt x="376" y="651"/>
                  </a:lnTo>
                  <a:lnTo>
                    <a:pt x="342" y="654"/>
                  </a:lnTo>
                  <a:lnTo>
                    <a:pt x="307" y="655"/>
                  </a:lnTo>
                  <a:lnTo>
                    <a:pt x="307" y="655"/>
                  </a:lnTo>
                  <a:lnTo>
                    <a:pt x="272" y="654"/>
                  </a:lnTo>
                  <a:lnTo>
                    <a:pt x="240" y="649"/>
                  </a:lnTo>
                  <a:lnTo>
                    <a:pt x="209" y="644"/>
                  </a:lnTo>
                  <a:lnTo>
                    <a:pt x="181" y="634"/>
                  </a:lnTo>
                  <a:lnTo>
                    <a:pt x="155" y="621"/>
                  </a:lnTo>
                  <a:lnTo>
                    <a:pt x="129" y="606"/>
                  </a:lnTo>
                  <a:lnTo>
                    <a:pt x="106" y="588"/>
                  </a:lnTo>
                  <a:lnTo>
                    <a:pt x="83" y="567"/>
                  </a:lnTo>
                  <a:lnTo>
                    <a:pt x="83" y="567"/>
                  </a:lnTo>
                  <a:lnTo>
                    <a:pt x="64" y="544"/>
                  </a:lnTo>
                  <a:lnTo>
                    <a:pt x="47" y="519"/>
                  </a:lnTo>
                  <a:lnTo>
                    <a:pt x="33" y="491"/>
                  </a:lnTo>
                  <a:lnTo>
                    <a:pt x="21" y="463"/>
                  </a:lnTo>
                  <a:lnTo>
                    <a:pt x="12" y="432"/>
                  </a:lnTo>
                  <a:lnTo>
                    <a:pt x="6" y="399"/>
                  </a:lnTo>
                  <a:lnTo>
                    <a:pt x="2" y="363"/>
                  </a:lnTo>
                  <a:lnTo>
                    <a:pt x="0" y="327"/>
                  </a:lnTo>
                  <a:lnTo>
                    <a:pt x="0" y="327"/>
                  </a:lnTo>
                  <a:lnTo>
                    <a:pt x="2" y="289"/>
                  </a:lnTo>
                  <a:lnTo>
                    <a:pt x="6" y="254"/>
                  </a:lnTo>
                  <a:lnTo>
                    <a:pt x="12" y="221"/>
                  </a:lnTo>
                  <a:lnTo>
                    <a:pt x="21" y="190"/>
                  </a:lnTo>
                  <a:lnTo>
                    <a:pt x="33" y="160"/>
                  </a:lnTo>
                  <a:lnTo>
                    <a:pt x="47" y="134"/>
                  </a:lnTo>
                  <a:lnTo>
                    <a:pt x="64" y="110"/>
                  </a:lnTo>
                  <a:lnTo>
                    <a:pt x="82" y="87"/>
                  </a:lnTo>
                  <a:lnTo>
                    <a:pt x="82" y="87"/>
                  </a:lnTo>
                  <a:lnTo>
                    <a:pt x="103" y="66"/>
                  </a:lnTo>
                  <a:lnTo>
                    <a:pt x="115" y="58"/>
                  </a:lnTo>
                  <a:lnTo>
                    <a:pt x="127" y="50"/>
                  </a:lnTo>
                  <a:lnTo>
                    <a:pt x="152" y="34"/>
                  </a:lnTo>
                  <a:lnTo>
                    <a:pt x="180" y="23"/>
                  </a:lnTo>
                  <a:lnTo>
                    <a:pt x="209" y="13"/>
                  </a:lnTo>
                  <a:lnTo>
                    <a:pt x="242" y="6"/>
                  </a:lnTo>
                  <a:lnTo>
                    <a:pt x="275" y="2"/>
                  </a:lnTo>
                  <a:lnTo>
                    <a:pt x="310" y="0"/>
                  </a:lnTo>
                  <a:lnTo>
                    <a:pt x="310" y="0"/>
                  </a:lnTo>
                  <a:lnTo>
                    <a:pt x="333" y="2"/>
                  </a:lnTo>
                  <a:lnTo>
                    <a:pt x="355" y="3"/>
                  </a:lnTo>
                  <a:lnTo>
                    <a:pt x="376" y="6"/>
                  </a:lnTo>
                  <a:lnTo>
                    <a:pt x="396" y="12"/>
                  </a:lnTo>
                  <a:lnTo>
                    <a:pt x="415" y="17"/>
                  </a:lnTo>
                  <a:lnTo>
                    <a:pt x="435" y="23"/>
                  </a:lnTo>
                  <a:lnTo>
                    <a:pt x="453" y="31"/>
                  </a:lnTo>
                  <a:lnTo>
                    <a:pt x="471" y="41"/>
                  </a:lnTo>
                  <a:lnTo>
                    <a:pt x="471" y="41"/>
                  </a:lnTo>
                  <a:lnTo>
                    <a:pt x="488" y="51"/>
                  </a:lnTo>
                  <a:lnTo>
                    <a:pt x="504" y="62"/>
                  </a:lnTo>
                  <a:lnTo>
                    <a:pt x="519" y="75"/>
                  </a:lnTo>
                  <a:lnTo>
                    <a:pt x="533" y="89"/>
                  </a:lnTo>
                  <a:lnTo>
                    <a:pt x="546" y="104"/>
                  </a:lnTo>
                  <a:lnTo>
                    <a:pt x="558" y="120"/>
                  </a:lnTo>
                  <a:lnTo>
                    <a:pt x="569" y="136"/>
                  </a:lnTo>
                  <a:lnTo>
                    <a:pt x="579" y="155"/>
                  </a:lnTo>
                  <a:lnTo>
                    <a:pt x="579" y="155"/>
                  </a:lnTo>
                  <a:lnTo>
                    <a:pt x="588" y="173"/>
                  </a:lnTo>
                  <a:lnTo>
                    <a:pt x="596" y="192"/>
                  </a:lnTo>
                  <a:lnTo>
                    <a:pt x="602" y="214"/>
                  </a:lnTo>
                  <a:lnTo>
                    <a:pt x="607" y="235"/>
                  </a:lnTo>
                  <a:lnTo>
                    <a:pt x="612" y="257"/>
                  </a:lnTo>
                  <a:lnTo>
                    <a:pt x="614" y="279"/>
                  </a:lnTo>
                  <a:lnTo>
                    <a:pt x="616" y="303"/>
                  </a:lnTo>
                  <a:lnTo>
                    <a:pt x="617" y="327"/>
                  </a:lnTo>
                  <a:close/>
                  <a:moveTo>
                    <a:pt x="216" y="327"/>
                  </a:moveTo>
                  <a:lnTo>
                    <a:pt x="216" y="327"/>
                  </a:lnTo>
                  <a:lnTo>
                    <a:pt x="218" y="365"/>
                  </a:lnTo>
                  <a:lnTo>
                    <a:pt x="222" y="399"/>
                  </a:lnTo>
                  <a:lnTo>
                    <a:pt x="225" y="414"/>
                  </a:lnTo>
                  <a:lnTo>
                    <a:pt x="229" y="428"/>
                  </a:lnTo>
                  <a:lnTo>
                    <a:pt x="233" y="439"/>
                  </a:lnTo>
                  <a:lnTo>
                    <a:pt x="239" y="452"/>
                  </a:lnTo>
                  <a:lnTo>
                    <a:pt x="239" y="452"/>
                  </a:lnTo>
                  <a:lnTo>
                    <a:pt x="244" y="462"/>
                  </a:lnTo>
                  <a:lnTo>
                    <a:pt x="250" y="470"/>
                  </a:lnTo>
                  <a:lnTo>
                    <a:pt x="258" y="477"/>
                  </a:lnTo>
                  <a:lnTo>
                    <a:pt x="267" y="483"/>
                  </a:lnTo>
                  <a:lnTo>
                    <a:pt x="277" y="488"/>
                  </a:lnTo>
                  <a:lnTo>
                    <a:pt x="286" y="491"/>
                  </a:lnTo>
                  <a:lnTo>
                    <a:pt x="298" y="494"/>
                  </a:lnTo>
                  <a:lnTo>
                    <a:pt x="309" y="494"/>
                  </a:lnTo>
                  <a:lnTo>
                    <a:pt x="309" y="494"/>
                  </a:lnTo>
                  <a:lnTo>
                    <a:pt x="321" y="494"/>
                  </a:lnTo>
                  <a:lnTo>
                    <a:pt x="333" y="491"/>
                  </a:lnTo>
                  <a:lnTo>
                    <a:pt x="342" y="488"/>
                  </a:lnTo>
                  <a:lnTo>
                    <a:pt x="352" y="483"/>
                  </a:lnTo>
                  <a:lnTo>
                    <a:pt x="361" y="477"/>
                  </a:lnTo>
                  <a:lnTo>
                    <a:pt x="368" y="470"/>
                  </a:lnTo>
                  <a:lnTo>
                    <a:pt x="373" y="462"/>
                  </a:lnTo>
                  <a:lnTo>
                    <a:pt x="379" y="452"/>
                  </a:lnTo>
                  <a:lnTo>
                    <a:pt x="379" y="452"/>
                  </a:lnTo>
                  <a:lnTo>
                    <a:pt x="384" y="439"/>
                  </a:lnTo>
                  <a:lnTo>
                    <a:pt x="389" y="428"/>
                  </a:lnTo>
                  <a:lnTo>
                    <a:pt x="391" y="414"/>
                  </a:lnTo>
                  <a:lnTo>
                    <a:pt x="394" y="399"/>
                  </a:lnTo>
                  <a:lnTo>
                    <a:pt x="398" y="365"/>
                  </a:lnTo>
                  <a:lnTo>
                    <a:pt x="400" y="327"/>
                  </a:lnTo>
                  <a:lnTo>
                    <a:pt x="400" y="327"/>
                  </a:lnTo>
                  <a:lnTo>
                    <a:pt x="398" y="289"/>
                  </a:lnTo>
                  <a:lnTo>
                    <a:pt x="394" y="256"/>
                  </a:lnTo>
                  <a:lnTo>
                    <a:pt x="391" y="242"/>
                  </a:lnTo>
                  <a:lnTo>
                    <a:pt x="389" y="228"/>
                  </a:lnTo>
                  <a:lnTo>
                    <a:pt x="384" y="216"/>
                  </a:lnTo>
                  <a:lnTo>
                    <a:pt x="379" y="205"/>
                  </a:lnTo>
                  <a:lnTo>
                    <a:pt x="379" y="205"/>
                  </a:lnTo>
                  <a:lnTo>
                    <a:pt x="373" y="195"/>
                  </a:lnTo>
                  <a:lnTo>
                    <a:pt x="368" y="187"/>
                  </a:lnTo>
                  <a:lnTo>
                    <a:pt x="359" y="180"/>
                  </a:lnTo>
                  <a:lnTo>
                    <a:pt x="351" y="174"/>
                  </a:lnTo>
                  <a:lnTo>
                    <a:pt x="342" y="169"/>
                  </a:lnTo>
                  <a:lnTo>
                    <a:pt x="331" y="166"/>
                  </a:lnTo>
                  <a:lnTo>
                    <a:pt x="320" y="164"/>
                  </a:lnTo>
                  <a:lnTo>
                    <a:pt x="309" y="163"/>
                  </a:lnTo>
                  <a:lnTo>
                    <a:pt x="309" y="163"/>
                  </a:lnTo>
                  <a:lnTo>
                    <a:pt x="296" y="164"/>
                  </a:lnTo>
                  <a:lnTo>
                    <a:pt x="285" y="166"/>
                  </a:lnTo>
                  <a:lnTo>
                    <a:pt x="275" y="169"/>
                  </a:lnTo>
                  <a:lnTo>
                    <a:pt x="267" y="174"/>
                  </a:lnTo>
                  <a:lnTo>
                    <a:pt x="258" y="180"/>
                  </a:lnTo>
                  <a:lnTo>
                    <a:pt x="250" y="187"/>
                  </a:lnTo>
                  <a:lnTo>
                    <a:pt x="244" y="195"/>
                  </a:lnTo>
                  <a:lnTo>
                    <a:pt x="239" y="205"/>
                  </a:lnTo>
                  <a:lnTo>
                    <a:pt x="239" y="205"/>
                  </a:lnTo>
                  <a:lnTo>
                    <a:pt x="233" y="215"/>
                  </a:lnTo>
                  <a:lnTo>
                    <a:pt x="229" y="228"/>
                  </a:lnTo>
                  <a:lnTo>
                    <a:pt x="225" y="242"/>
                  </a:lnTo>
                  <a:lnTo>
                    <a:pt x="222" y="256"/>
                  </a:lnTo>
                  <a:lnTo>
                    <a:pt x="218" y="289"/>
                  </a:lnTo>
                  <a:lnTo>
                    <a:pt x="216" y="3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
              <a:extLst>
                <a:ext uri="{FF2B5EF4-FFF2-40B4-BE49-F238E27FC236}">
                  <a16:creationId xmlns:a16="http://schemas.microsoft.com/office/drawing/2014/main" id="{C51A6E09-50BD-493A-A039-BE1E84A27292}"/>
                </a:ext>
              </a:extLst>
            </p:cNvPr>
            <p:cNvSpPr>
              <a:spLocks/>
            </p:cNvSpPr>
            <p:nvPr/>
          </p:nvSpPr>
          <p:spPr bwMode="auto">
            <a:xfrm>
              <a:off x="3554" y="1731"/>
              <a:ext cx="308" cy="327"/>
            </a:xfrm>
            <a:custGeom>
              <a:avLst/>
              <a:gdLst>
                <a:gd name="T0" fmla="*/ 617 w 617"/>
                <a:gd name="T1" fmla="*/ 327 h 655"/>
                <a:gd name="T2" fmla="*/ 612 w 617"/>
                <a:gd name="T3" fmla="*/ 400 h 655"/>
                <a:gd name="T4" fmla="*/ 596 w 617"/>
                <a:gd name="T5" fmla="*/ 464 h 655"/>
                <a:gd name="T6" fmla="*/ 571 w 617"/>
                <a:gd name="T7" fmla="*/ 522 h 655"/>
                <a:gd name="T8" fmla="*/ 536 w 617"/>
                <a:gd name="T9" fmla="*/ 570 h 655"/>
                <a:gd name="T10" fmla="*/ 525 w 617"/>
                <a:gd name="T11" fmla="*/ 579 h 655"/>
                <a:gd name="T12" fmla="*/ 502 w 617"/>
                <a:gd name="T13" fmla="*/ 599 h 655"/>
                <a:gd name="T14" fmla="*/ 478 w 617"/>
                <a:gd name="T15" fmla="*/ 614 h 655"/>
                <a:gd name="T16" fmla="*/ 438 w 617"/>
                <a:gd name="T17" fmla="*/ 634 h 655"/>
                <a:gd name="T18" fmla="*/ 376 w 617"/>
                <a:gd name="T19" fmla="*/ 651 h 655"/>
                <a:gd name="T20" fmla="*/ 307 w 617"/>
                <a:gd name="T21" fmla="*/ 655 h 655"/>
                <a:gd name="T22" fmla="*/ 272 w 617"/>
                <a:gd name="T23" fmla="*/ 654 h 655"/>
                <a:gd name="T24" fmla="*/ 209 w 617"/>
                <a:gd name="T25" fmla="*/ 644 h 655"/>
                <a:gd name="T26" fmla="*/ 155 w 617"/>
                <a:gd name="T27" fmla="*/ 621 h 655"/>
                <a:gd name="T28" fmla="*/ 106 w 617"/>
                <a:gd name="T29" fmla="*/ 588 h 655"/>
                <a:gd name="T30" fmla="*/ 83 w 617"/>
                <a:gd name="T31" fmla="*/ 567 h 655"/>
                <a:gd name="T32" fmla="*/ 47 w 617"/>
                <a:gd name="T33" fmla="*/ 519 h 655"/>
                <a:gd name="T34" fmla="*/ 21 w 617"/>
                <a:gd name="T35" fmla="*/ 463 h 655"/>
                <a:gd name="T36" fmla="*/ 6 w 617"/>
                <a:gd name="T37" fmla="*/ 399 h 655"/>
                <a:gd name="T38" fmla="*/ 0 w 617"/>
                <a:gd name="T39" fmla="*/ 327 h 655"/>
                <a:gd name="T40" fmla="*/ 2 w 617"/>
                <a:gd name="T41" fmla="*/ 289 h 655"/>
                <a:gd name="T42" fmla="*/ 12 w 617"/>
                <a:gd name="T43" fmla="*/ 221 h 655"/>
                <a:gd name="T44" fmla="*/ 33 w 617"/>
                <a:gd name="T45" fmla="*/ 160 h 655"/>
                <a:gd name="T46" fmla="*/ 64 w 617"/>
                <a:gd name="T47" fmla="*/ 110 h 655"/>
                <a:gd name="T48" fmla="*/ 82 w 617"/>
                <a:gd name="T49" fmla="*/ 87 h 655"/>
                <a:gd name="T50" fmla="*/ 115 w 617"/>
                <a:gd name="T51" fmla="*/ 58 h 655"/>
                <a:gd name="T52" fmla="*/ 152 w 617"/>
                <a:gd name="T53" fmla="*/ 34 h 655"/>
                <a:gd name="T54" fmla="*/ 209 w 617"/>
                <a:gd name="T55" fmla="*/ 13 h 655"/>
                <a:gd name="T56" fmla="*/ 275 w 617"/>
                <a:gd name="T57" fmla="*/ 2 h 655"/>
                <a:gd name="T58" fmla="*/ 310 w 617"/>
                <a:gd name="T59" fmla="*/ 0 h 655"/>
                <a:gd name="T60" fmla="*/ 355 w 617"/>
                <a:gd name="T61" fmla="*/ 3 h 655"/>
                <a:gd name="T62" fmla="*/ 396 w 617"/>
                <a:gd name="T63" fmla="*/ 12 h 655"/>
                <a:gd name="T64" fmla="*/ 435 w 617"/>
                <a:gd name="T65" fmla="*/ 23 h 655"/>
                <a:gd name="T66" fmla="*/ 471 w 617"/>
                <a:gd name="T67" fmla="*/ 41 h 655"/>
                <a:gd name="T68" fmla="*/ 488 w 617"/>
                <a:gd name="T69" fmla="*/ 51 h 655"/>
                <a:gd name="T70" fmla="*/ 519 w 617"/>
                <a:gd name="T71" fmla="*/ 75 h 655"/>
                <a:gd name="T72" fmla="*/ 546 w 617"/>
                <a:gd name="T73" fmla="*/ 104 h 655"/>
                <a:gd name="T74" fmla="*/ 569 w 617"/>
                <a:gd name="T75" fmla="*/ 136 h 655"/>
                <a:gd name="T76" fmla="*/ 579 w 617"/>
                <a:gd name="T77" fmla="*/ 155 h 655"/>
                <a:gd name="T78" fmla="*/ 596 w 617"/>
                <a:gd name="T79" fmla="*/ 192 h 655"/>
                <a:gd name="T80" fmla="*/ 607 w 617"/>
                <a:gd name="T81" fmla="*/ 235 h 655"/>
                <a:gd name="T82" fmla="*/ 614 w 617"/>
                <a:gd name="T83" fmla="*/ 279 h 655"/>
                <a:gd name="T84" fmla="*/ 617 w 617"/>
                <a:gd name="T85" fmla="*/ 32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7" h="655">
                  <a:moveTo>
                    <a:pt x="617" y="327"/>
                  </a:moveTo>
                  <a:lnTo>
                    <a:pt x="617" y="327"/>
                  </a:lnTo>
                  <a:lnTo>
                    <a:pt x="616" y="365"/>
                  </a:lnTo>
                  <a:lnTo>
                    <a:pt x="612" y="400"/>
                  </a:lnTo>
                  <a:lnTo>
                    <a:pt x="606" y="434"/>
                  </a:lnTo>
                  <a:lnTo>
                    <a:pt x="596" y="464"/>
                  </a:lnTo>
                  <a:lnTo>
                    <a:pt x="585" y="494"/>
                  </a:lnTo>
                  <a:lnTo>
                    <a:pt x="571" y="522"/>
                  </a:lnTo>
                  <a:lnTo>
                    <a:pt x="554" y="546"/>
                  </a:lnTo>
                  <a:lnTo>
                    <a:pt x="536" y="570"/>
                  </a:lnTo>
                  <a:lnTo>
                    <a:pt x="536" y="570"/>
                  </a:lnTo>
                  <a:lnTo>
                    <a:pt x="525" y="579"/>
                  </a:lnTo>
                  <a:lnTo>
                    <a:pt x="513" y="589"/>
                  </a:lnTo>
                  <a:lnTo>
                    <a:pt x="502" y="599"/>
                  </a:lnTo>
                  <a:lnTo>
                    <a:pt x="491" y="607"/>
                  </a:lnTo>
                  <a:lnTo>
                    <a:pt x="478" y="614"/>
                  </a:lnTo>
                  <a:lnTo>
                    <a:pt x="464" y="621"/>
                  </a:lnTo>
                  <a:lnTo>
                    <a:pt x="438" y="634"/>
                  </a:lnTo>
                  <a:lnTo>
                    <a:pt x="408" y="644"/>
                  </a:lnTo>
                  <a:lnTo>
                    <a:pt x="376" y="651"/>
                  </a:lnTo>
                  <a:lnTo>
                    <a:pt x="342" y="654"/>
                  </a:lnTo>
                  <a:lnTo>
                    <a:pt x="307" y="655"/>
                  </a:lnTo>
                  <a:lnTo>
                    <a:pt x="307" y="655"/>
                  </a:lnTo>
                  <a:lnTo>
                    <a:pt x="272" y="654"/>
                  </a:lnTo>
                  <a:lnTo>
                    <a:pt x="240" y="649"/>
                  </a:lnTo>
                  <a:lnTo>
                    <a:pt x="209" y="644"/>
                  </a:lnTo>
                  <a:lnTo>
                    <a:pt x="181" y="634"/>
                  </a:lnTo>
                  <a:lnTo>
                    <a:pt x="155" y="621"/>
                  </a:lnTo>
                  <a:lnTo>
                    <a:pt x="129" y="606"/>
                  </a:lnTo>
                  <a:lnTo>
                    <a:pt x="106" y="588"/>
                  </a:lnTo>
                  <a:lnTo>
                    <a:pt x="83" y="567"/>
                  </a:lnTo>
                  <a:lnTo>
                    <a:pt x="83" y="567"/>
                  </a:lnTo>
                  <a:lnTo>
                    <a:pt x="64" y="544"/>
                  </a:lnTo>
                  <a:lnTo>
                    <a:pt x="47" y="519"/>
                  </a:lnTo>
                  <a:lnTo>
                    <a:pt x="33" y="491"/>
                  </a:lnTo>
                  <a:lnTo>
                    <a:pt x="21" y="463"/>
                  </a:lnTo>
                  <a:lnTo>
                    <a:pt x="12" y="432"/>
                  </a:lnTo>
                  <a:lnTo>
                    <a:pt x="6" y="399"/>
                  </a:lnTo>
                  <a:lnTo>
                    <a:pt x="2" y="363"/>
                  </a:lnTo>
                  <a:lnTo>
                    <a:pt x="0" y="327"/>
                  </a:lnTo>
                  <a:lnTo>
                    <a:pt x="0" y="327"/>
                  </a:lnTo>
                  <a:lnTo>
                    <a:pt x="2" y="289"/>
                  </a:lnTo>
                  <a:lnTo>
                    <a:pt x="6" y="254"/>
                  </a:lnTo>
                  <a:lnTo>
                    <a:pt x="12" y="221"/>
                  </a:lnTo>
                  <a:lnTo>
                    <a:pt x="21" y="190"/>
                  </a:lnTo>
                  <a:lnTo>
                    <a:pt x="33" y="160"/>
                  </a:lnTo>
                  <a:lnTo>
                    <a:pt x="47" y="134"/>
                  </a:lnTo>
                  <a:lnTo>
                    <a:pt x="64" y="110"/>
                  </a:lnTo>
                  <a:lnTo>
                    <a:pt x="82" y="87"/>
                  </a:lnTo>
                  <a:lnTo>
                    <a:pt x="82" y="87"/>
                  </a:lnTo>
                  <a:lnTo>
                    <a:pt x="103" y="66"/>
                  </a:lnTo>
                  <a:lnTo>
                    <a:pt x="115" y="58"/>
                  </a:lnTo>
                  <a:lnTo>
                    <a:pt x="127" y="50"/>
                  </a:lnTo>
                  <a:lnTo>
                    <a:pt x="152" y="34"/>
                  </a:lnTo>
                  <a:lnTo>
                    <a:pt x="180" y="23"/>
                  </a:lnTo>
                  <a:lnTo>
                    <a:pt x="209" y="13"/>
                  </a:lnTo>
                  <a:lnTo>
                    <a:pt x="242" y="6"/>
                  </a:lnTo>
                  <a:lnTo>
                    <a:pt x="275" y="2"/>
                  </a:lnTo>
                  <a:lnTo>
                    <a:pt x="310" y="0"/>
                  </a:lnTo>
                  <a:lnTo>
                    <a:pt x="310" y="0"/>
                  </a:lnTo>
                  <a:lnTo>
                    <a:pt x="333" y="2"/>
                  </a:lnTo>
                  <a:lnTo>
                    <a:pt x="355" y="3"/>
                  </a:lnTo>
                  <a:lnTo>
                    <a:pt x="376" y="6"/>
                  </a:lnTo>
                  <a:lnTo>
                    <a:pt x="396" y="12"/>
                  </a:lnTo>
                  <a:lnTo>
                    <a:pt x="415" y="17"/>
                  </a:lnTo>
                  <a:lnTo>
                    <a:pt x="435" y="23"/>
                  </a:lnTo>
                  <a:lnTo>
                    <a:pt x="453" y="31"/>
                  </a:lnTo>
                  <a:lnTo>
                    <a:pt x="471" y="41"/>
                  </a:lnTo>
                  <a:lnTo>
                    <a:pt x="471" y="41"/>
                  </a:lnTo>
                  <a:lnTo>
                    <a:pt x="488" y="51"/>
                  </a:lnTo>
                  <a:lnTo>
                    <a:pt x="504" y="62"/>
                  </a:lnTo>
                  <a:lnTo>
                    <a:pt x="519" y="75"/>
                  </a:lnTo>
                  <a:lnTo>
                    <a:pt x="533" y="89"/>
                  </a:lnTo>
                  <a:lnTo>
                    <a:pt x="546" y="104"/>
                  </a:lnTo>
                  <a:lnTo>
                    <a:pt x="558" y="120"/>
                  </a:lnTo>
                  <a:lnTo>
                    <a:pt x="569" y="136"/>
                  </a:lnTo>
                  <a:lnTo>
                    <a:pt x="579" y="155"/>
                  </a:lnTo>
                  <a:lnTo>
                    <a:pt x="579" y="155"/>
                  </a:lnTo>
                  <a:lnTo>
                    <a:pt x="588" y="173"/>
                  </a:lnTo>
                  <a:lnTo>
                    <a:pt x="596" y="192"/>
                  </a:lnTo>
                  <a:lnTo>
                    <a:pt x="602" y="214"/>
                  </a:lnTo>
                  <a:lnTo>
                    <a:pt x="607" y="235"/>
                  </a:lnTo>
                  <a:lnTo>
                    <a:pt x="612" y="257"/>
                  </a:lnTo>
                  <a:lnTo>
                    <a:pt x="614" y="279"/>
                  </a:lnTo>
                  <a:lnTo>
                    <a:pt x="616" y="303"/>
                  </a:lnTo>
                  <a:lnTo>
                    <a:pt x="617" y="3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
              <a:extLst>
                <a:ext uri="{FF2B5EF4-FFF2-40B4-BE49-F238E27FC236}">
                  <a16:creationId xmlns:a16="http://schemas.microsoft.com/office/drawing/2014/main" id="{7DF536A0-20E5-4992-8EEF-871494F0DA04}"/>
                </a:ext>
              </a:extLst>
            </p:cNvPr>
            <p:cNvSpPr>
              <a:spLocks/>
            </p:cNvSpPr>
            <p:nvPr/>
          </p:nvSpPr>
          <p:spPr bwMode="auto">
            <a:xfrm>
              <a:off x="3662" y="1812"/>
              <a:ext cx="91" cy="165"/>
            </a:xfrm>
            <a:custGeom>
              <a:avLst/>
              <a:gdLst>
                <a:gd name="T0" fmla="*/ 0 w 184"/>
                <a:gd name="T1" fmla="*/ 164 h 331"/>
                <a:gd name="T2" fmla="*/ 6 w 184"/>
                <a:gd name="T3" fmla="*/ 236 h 331"/>
                <a:gd name="T4" fmla="*/ 13 w 184"/>
                <a:gd name="T5" fmla="*/ 265 h 331"/>
                <a:gd name="T6" fmla="*/ 23 w 184"/>
                <a:gd name="T7" fmla="*/ 289 h 331"/>
                <a:gd name="T8" fmla="*/ 28 w 184"/>
                <a:gd name="T9" fmla="*/ 299 h 331"/>
                <a:gd name="T10" fmla="*/ 42 w 184"/>
                <a:gd name="T11" fmla="*/ 314 h 331"/>
                <a:gd name="T12" fmla="*/ 61 w 184"/>
                <a:gd name="T13" fmla="*/ 325 h 331"/>
                <a:gd name="T14" fmla="*/ 82 w 184"/>
                <a:gd name="T15" fmla="*/ 331 h 331"/>
                <a:gd name="T16" fmla="*/ 93 w 184"/>
                <a:gd name="T17" fmla="*/ 331 h 331"/>
                <a:gd name="T18" fmla="*/ 117 w 184"/>
                <a:gd name="T19" fmla="*/ 328 h 331"/>
                <a:gd name="T20" fmla="*/ 136 w 184"/>
                <a:gd name="T21" fmla="*/ 320 h 331"/>
                <a:gd name="T22" fmla="*/ 152 w 184"/>
                <a:gd name="T23" fmla="*/ 307 h 331"/>
                <a:gd name="T24" fmla="*/ 163 w 184"/>
                <a:gd name="T25" fmla="*/ 289 h 331"/>
                <a:gd name="T26" fmla="*/ 168 w 184"/>
                <a:gd name="T27" fmla="*/ 276 h 331"/>
                <a:gd name="T28" fmla="*/ 175 w 184"/>
                <a:gd name="T29" fmla="*/ 251 h 331"/>
                <a:gd name="T30" fmla="*/ 182 w 184"/>
                <a:gd name="T31" fmla="*/ 202 h 331"/>
                <a:gd name="T32" fmla="*/ 184 w 184"/>
                <a:gd name="T33" fmla="*/ 164 h 331"/>
                <a:gd name="T34" fmla="*/ 178 w 184"/>
                <a:gd name="T35" fmla="*/ 93 h 331"/>
                <a:gd name="T36" fmla="*/ 173 w 184"/>
                <a:gd name="T37" fmla="*/ 65 h 331"/>
                <a:gd name="T38" fmla="*/ 163 w 184"/>
                <a:gd name="T39" fmla="*/ 42 h 331"/>
                <a:gd name="T40" fmla="*/ 157 w 184"/>
                <a:gd name="T41" fmla="*/ 32 h 331"/>
                <a:gd name="T42" fmla="*/ 143 w 184"/>
                <a:gd name="T43" fmla="*/ 17 h 331"/>
                <a:gd name="T44" fmla="*/ 126 w 184"/>
                <a:gd name="T45" fmla="*/ 6 h 331"/>
                <a:gd name="T46" fmla="*/ 104 w 184"/>
                <a:gd name="T47" fmla="*/ 1 h 331"/>
                <a:gd name="T48" fmla="*/ 93 w 184"/>
                <a:gd name="T49" fmla="*/ 0 h 331"/>
                <a:gd name="T50" fmla="*/ 69 w 184"/>
                <a:gd name="T51" fmla="*/ 3 h 331"/>
                <a:gd name="T52" fmla="*/ 51 w 184"/>
                <a:gd name="T53" fmla="*/ 11 h 331"/>
                <a:gd name="T54" fmla="*/ 34 w 184"/>
                <a:gd name="T55" fmla="*/ 24 h 331"/>
                <a:gd name="T56" fmla="*/ 23 w 184"/>
                <a:gd name="T57" fmla="*/ 42 h 331"/>
                <a:gd name="T58" fmla="*/ 17 w 184"/>
                <a:gd name="T59" fmla="*/ 52 h 331"/>
                <a:gd name="T60" fmla="*/ 9 w 184"/>
                <a:gd name="T61" fmla="*/ 79 h 331"/>
                <a:gd name="T62" fmla="*/ 2 w 184"/>
                <a:gd name="T63" fmla="*/ 12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4" h="331">
                  <a:moveTo>
                    <a:pt x="0" y="164"/>
                  </a:moveTo>
                  <a:lnTo>
                    <a:pt x="0" y="164"/>
                  </a:lnTo>
                  <a:lnTo>
                    <a:pt x="2" y="202"/>
                  </a:lnTo>
                  <a:lnTo>
                    <a:pt x="6" y="236"/>
                  </a:lnTo>
                  <a:lnTo>
                    <a:pt x="9" y="251"/>
                  </a:lnTo>
                  <a:lnTo>
                    <a:pt x="13" y="265"/>
                  </a:lnTo>
                  <a:lnTo>
                    <a:pt x="17" y="276"/>
                  </a:lnTo>
                  <a:lnTo>
                    <a:pt x="23" y="289"/>
                  </a:lnTo>
                  <a:lnTo>
                    <a:pt x="23" y="289"/>
                  </a:lnTo>
                  <a:lnTo>
                    <a:pt x="28" y="299"/>
                  </a:lnTo>
                  <a:lnTo>
                    <a:pt x="34" y="307"/>
                  </a:lnTo>
                  <a:lnTo>
                    <a:pt x="42" y="314"/>
                  </a:lnTo>
                  <a:lnTo>
                    <a:pt x="51" y="320"/>
                  </a:lnTo>
                  <a:lnTo>
                    <a:pt x="61" y="325"/>
                  </a:lnTo>
                  <a:lnTo>
                    <a:pt x="70" y="328"/>
                  </a:lnTo>
                  <a:lnTo>
                    <a:pt x="82" y="331"/>
                  </a:lnTo>
                  <a:lnTo>
                    <a:pt x="93" y="331"/>
                  </a:lnTo>
                  <a:lnTo>
                    <a:pt x="93" y="331"/>
                  </a:lnTo>
                  <a:lnTo>
                    <a:pt x="105" y="331"/>
                  </a:lnTo>
                  <a:lnTo>
                    <a:pt x="117" y="328"/>
                  </a:lnTo>
                  <a:lnTo>
                    <a:pt x="126" y="325"/>
                  </a:lnTo>
                  <a:lnTo>
                    <a:pt x="136" y="320"/>
                  </a:lnTo>
                  <a:lnTo>
                    <a:pt x="145" y="314"/>
                  </a:lnTo>
                  <a:lnTo>
                    <a:pt x="152" y="307"/>
                  </a:lnTo>
                  <a:lnTo>
                    <a:pt x="157" y="299"/>
                  </a:lnTo>
                  <a:lnTo>
                    <a:pt x="163" y="289"/>
                  </a:lnTo>
                  <a:lnTo>
                    <a:pt x="163" y="289"/>
                  </a:lnTo>
                  <a:lnTo>
                    <a:pt x="168" y="276"/>
                  </a:lnTo>
                  <a:lnTo>
                    <a:pt x="173" y="265"/>
                  </a:lnTo>
                  <a:lnTo>
                    <a:pt x="175" y="251"/>
                  </a:lnTo>
                  <a:lnTo>
                    <a:pt x="178" y="236"/>
                  </a:lnTo>
                  <a:lnTo>
                    <a:pt x="182" y="202"/>
                  </a:lnTo>
                  <a:lnTo>
                    <a:pt x="184" y="164"/>
                  </a:lnTo>
                  <a:lnTo>
                    <a:pt x="184" y="164"/>
                  </a:lnTo>
                  <a:lnTo>
                    <a:pt x="182" y="126"/>
                  </a:lnTo>
                  <a:lnTo>
                    <a:pt x="178" y="93"/>
                  </a:lnTo>
                  <a:lnTo>
                    <a:pt x="175" y="79"/>
                  </a:lnTo>
                  <a:lnTo>
                    <a:pt x="173" y="65"/>
                  </a:lnTo>
                  <a:lnTo>
                    <a:pt x="168" y="53"/>
                  </a:lnTo>
                  <a:lnTo>
                    <a:pt x="163" y="42"/>
                  </a:lnTo>
                  <a:lnTo>
                    <a:pt x="163" y="42"/>
                  </a:lnTo>
                  <a:lnTo>
                    <a:pt x="157" y="32"/>
                  </a:lnTo>
                  <a:lnTo>
                    <a:pt x="152" y="24"/>
                  </a:lnTo>
                  <a:lnTo>
                    <a:pt x="143" y="17"/>
                  </a:lnTo>
                  <a:lnTo>
                    <a:pt x="135" y="11"/>
                  </a:lnTo>
                  <a:lnTo>
                    <a:pt x="126" y="6"/>
                  </a:lnTo>
                  <a:lnTo>
                    <a:pt x="115" y="3"/>
                  </a:lnTo>
                  <a:lnTo>
                    <a:pt x="104" y="1"/>
                  </a:lnTo>
                  <a:lnTo>
                    <a:pt x="93" y="0"/>
                  </a:lnTo>
                  <a:lnTo>
                    <a:pt x="93" y="0"/>
                  </a:lnTo>
                  <a:lnTo>
                    <a:pt x="80" y="1"/>
                  </a:lnTo>
                  <a:lnTo>
                    <a:pt x="69" y="3"/>
                  </a:lnTo>
                  <a:lnTo>
                    <a:pt x="59" y="6"/>
                  </a:lnTo>
                  <a:lnTo>
                    <a:pt x="51" y="11"/>
                  </a:lnTo>
                  <a:lnTo>
                    <a:pt x="42" y="17"/>
                  </a:lnTo>
                  <a:lnTo>
                    <a:pt x="34" y="24"/>
                  </a:lnTo>
                  <a:lnTo>
                    <a:pt x="28" y="32"/>
                  </a:lnTo>
                  <a:lnTo>
                    <a:pt x="23" y="42"/>
                  </a:lnTo>
                  <a:lnTo>
                    <a:pt x="23" y="42"/>
                  </a:lnTo>
                  <a:lnTo>
                    <a:pt x="17" y="52"/>
                  </a:lnTo>
                  <a:lnTo>
                    <a:pt x="13" y="65"/>
                  </a:lnTo>
                  <a:lnTo>
                    <a:pt x="9" y="79"/>
                  </a:lnTo>
                  <a:lnTo>
                    <a:pt x="6" y="93"/>
                  </a:lnTo>
                  <a:lnTo>
                    <a:pt x="2" y="126"/>
                  </a:lnTo>
                  <a:lnTo>
                    <a:pt x="0" y="1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4">
              <a:extLst>
                <a:ext uri="{FF2B5EF4-FFF2-40B4-BE49-F238E27FC236}">
                  <a16:creationId xmlns:a16="http://schemas.microsoft.com/office/drawing/2014/main" id="{FADD579B-EB5E-4168-A0CA-7685B5D07E01}"/>
                </a:ext>
              </a:extLst>
            </p:cNvPr>
            <p:cNvSpPr>
              <a:spLocks noChangeArrowheads="1"/>
            </p:cNvSpPr>
            <p:nvPr/>
          </p:nvSpPr>
          <p:spPr bwMode="auto">
            <a:xfrm>
              <a:off x="3904" y="1736"/>
              <a:ext cx="107" cy="3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15">
              <a:extLst>
                <a:ext uri="{FF2B5EF4-FFF2-40B4-BE49-F238E27FC236}">
                  <a16:creationId xmlns:a16="http://schemas.microsoft.com/office/drawing/2014/main" id="{8A415864-7B7A-4989-9B19-681430C127ED}"/>
                </a:ext>
              </a:extLst>
            </p:cNvPr>
            <p:cNvSpPr>
              <a:spLocks noChangeArrowheads="1"/>
            </p:cNvSpPr>
            <p:nvPr/>
          </p:nvSpPr>
          <p:spPr bwMode="auto">
            <a:xfrm>
              <a:off x="3904" y="1627"/>
              <a:ext cx="107" cy="7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6">
              <a:extLst>
                <a:ext uri="{FF2B5EF4-FFF2-40B4-BE49-F238E27FC236}">
                  <a16:creationId xmlns:a16="http://schemas.microsoft.com/office/drawing/2014/main" id="{1087DB28-6A5D-49A1-92C6-E48EF1AE4E4D}"/>
                </a:ext>
              </a:extLst>
            </p:cNvPr>
            <p:cNvSpPr>
              <a:spLocks/>
            </p:cNvSpPr>
            <p:nvPr/>
          </p:nvSpPr>
          <p:spPr bwMode="auto">
            <a:xfrm>
              <a:off x="4053" y="1638"/>
              <a:ext cx="225" cy="420"/>
            </a:xfrm>
            <a:custGeom>
              <a:avLst/>
              <a:gdLst>
                <a:gd name="T0" fmla="*/ 348 w 452"/>
                <a:gd name="T1" fmla="*/ 669 h 841"/>
                <a:gd name="T2" fmla="*/ 348 w 452"/>
                <a:gd name="T3" fmla="*/ 669 h 841"/>
                <a:gd name="T4" fmla="*/ 370 w 452"/>
                <a:gd name="T5" fmla="*/ 667 h 841"/>
                <a:gd name="T6" fmla="*/ 396 w 452"/>
                <a:gd name="T7" fmla="*/ 664 h 841"/>
                <a:gd name="T8" fmla="*/ 422 w 452"/>
                <a:gd name="T9" fmla="*/ 657 h 841"/>
                <a:gd name="T10" fmla="*/ 452 w 452"/>
                <a:gd name="T11" fmla="*/ 648 h 841"/>
                <a:gd name="T12" fmla="*/ 452 w 452"/>
                <a:gd name="T13" fmla="*/ 806 h 841"/>
                <a:gd name="T14" fmla="*/ 452 w 452"/>
                <a:gd name="T15" fmla="*/ 806 h 841"/>
                <a:gd name="T16" fmla="*/ 429 w 452"/>
                <a:gd name="T17" fmla="*/ 816 h 841"/>
                <a:gd name="T18" fmla="*/ 410 w 452"/>
                <a:gd name="T19" fmla="*/ 823 h 841"/>
                <a:gd name="T20" fmla="*/ 389 w 452"/>
                <a:gd name="T21" fmla="*/ 828 h 841"/>
                <a:gd name="T22" fmla="*/ 369 w 452"/>
                <a:gd name="T23" fmla="*/ 834 h 841"/>
                <a:gd name="T24" fmla="*/ 369 w 452"/>
                <a:gd name="T25" fmla="*/ 834 h 841"/>
                <a:gd name="T26" fmla="*/ 349 w 452"/>
                <a:gd name="T27" fmla="*/ 837 h 841"/>
                <a:gd name="T28" fmla="*/ 327 w 452"/>
                <a:gd name="T29" fmla="*/ 840 h 841"/>
                <a:gd name="T30" fmla="*/ 303 w 452"/>
                <a:gd name="T31" fmla="*/ 841 h 841"/>
                <a:gd name="T32" fmla="*/ 278 w 452"/>
                <a:gd name="T33" fmla="*/ 841 h 841"/>
                <a:gd name="T34" fmla="*/ 278 w 452"/>
                <a:gd name="T35" fmla="*/ 841 h 841"/>
                <a:gd name="T36" fmla="*/ 251 w 452"/>
                <a:gd name="T37" fmla="*/ 841 h 841"/>
                <a:gd name="T38" fmla="*/ 227 w 452"/>
                <a:gd name="T39" fmla="*/ 838 h 841"/>
                <a:gd name="T40" fmla="*/ 206 w 452"/>
                <a:gd name="T41" fmla="*/ 834 h 841"/>
                <a:gd name="T42" fmla="*/ 185 w 452"/>
                <a:gd name="T43" fmla="*/ 828 h 841"/>
                <a:gd name="T44" fmla="*/ 167 w 452"/>
                <a:gd name="T45" fmla="*/ 820 h 841"/>
                <a:gd name="T46" fmla="*/ 150 w 452"/>
                <a:gd name="T47" fmla="*/ 812 h 841"/>
                <a:gd name="T48" fmla="*/ 136 w 452"/>
                <a:gd name="T49" fmla="*/ 800 h 841"/>
                <a:gd name="T50" fmla="*/ 124 w 452"/>
                <a:gd name="T51" fmla="*/ 788 h 841"/>
                <a:gd name="T52" fmla="*/ 124 w 452"/>
                <a:gd name="T53" fmla="*/ 788 h 841"/>
                <a:gd name="T54" fmla="*/ 113 w 452"/>
                <a:gd name="T55" fmla="*/ 774 h 841"/>
                <a:gd name="T56" fmla="*/ 103 w 452"/>
                <a:gd name="T57" fmla="*/ 757 h 841"/>
                <a:gd name="T58" fmla="*/ 94 w 452"/>
                <a:gd name="T59" fmla="*/ 739 h 841"/>
                <a:gd name="T60" fmla="*/ 87 w 452"/>
                <a:gd name="T61" fmla="*/ 719 h 841"/>
                <a:gd name="T62" fmla="*/ 82 w 452"/>
                <a:gd name="T63" fmla="*/ 698 h 841"/>
                <a:gd name="T64" fmla="*/ 79 w 452"/>
                <a:gd name="T65" fmla="*/ 674 h 841"/>
                <a:gd name="T66" fmla="*/ 76 w 452"/>
                <a:gd name="T67" fmla="*/ 649 h 841"/>
                <a:gd name="T68" fmla="*/ 76 w 452"/>
                <a:gd name="T69" fmla="*/ 622 h 841"/>
                <a:gd name="T70" fmla="*/ 76 w 452"/>
                <a:gd name="T71" fmla="*/ 362 h 841"/>
                <a:gd name="T72" fmla="*/ 0 w 452"/>
                <a:gd name="T73" fmla="*/ 362 h 841"/>
                <a:gd name="T74" fmla="*/ 0 w 452"/>
                <a:gd name="T75" fmla="*/ 198 h 841"/>
                <a:gd name="T76" fmla="*/ 76 w 452"/>
                <a:gd name="T77" fmla="*/ 198 h 841"/>
                <a:gd name="T78" fmla="*/ 76 w 452"/>
                <a:gd name="T79" fmla="*/ 36 h 841"/>
                <a:gd name="T80" fmla="*/ 291 w 452"/>
                <a:gd name="T81" fmla="*/ 0 h 841"/>
                <a:gd name="T82" fmla="*/ 291 w 452"/>
                <a:gd name="T83" fmla="*/ 198 h 841"/>
                <a:gd name="T84" fmla="*/ 426 w 452"/>
                <a:gd name="T85" fmla="*/ 198 h 841"/>
                <a:gd name="T86" fmla="*/ 426 w 452"/>
                <a:gd name="T87" fmla="*/ 362 h 841"/>
                <a:gd name="T88" fmla="*/ 291 w 452"/>
                <a:gd name="T89" fmla="*/ 362 h 841"/>
                <a:gd name="T90" fmla="*/ 291 w 452"/>
                <a:gd name="T91" fmla="*/ 608 h 841"/>
                <a:gd name="T92" fmla="*/ 291 w 452"/>
                <a:gd name="T93" fmla="*/ 608 h 841"/>
                <a:gd name="T94" fmla="*/ 292 w 452"/>
                <a:gd name="T95" fmla="*/ 622 h 841"/>
                <a:gd name="T96" fmla="*/ 293 w 452"/>
                <a:gd name="T97" fmla="*/ 635 h 841"/>
                <a:gd name="T98" fmla="*/ 299 w 452"/>
                <a:gd name="T99" fmla="*/ 645 h 841"/>
                <a:gd name="T100" fmla="*/ 305 w 452"/>
                <a:gd name="T101" fmla="*/ 653 h 841"/>
                <a:gd name="T102" fmla="*/ 313 w 452"/>
                <a:gd name="T103" fmla="*/ 660 h 841"/>
                <a:gd name="T104" fmla="*/ 323 w 452"/>
                <a:gd name="T105" fmla="*/ 666 h 841"/>
                <a:gd name="T106" fmla="*/ 334 w 452"/>
                <a:gd name="T107" fmla="*/ 669 h 841"/>
                <a:gd name="T108" fmla="*/ 348 w 452"/>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841">
                  <a:moveTo>
                    <a:pt x="348" y="669"/>
                  </a:moveTo>
                  <a:lnTo>
                    <a:pt x="348" y="669"/>
                  </a:lnTo>
                  <a:lnTo>
                    <a:pt x="370" y="667"/>
                  </a:lnTo>
                  <a:lnTo>
                    <a:pt x="396" y="664"/>
                  </a:lnTo>
                  <a:lnTo>
                    <a:pt x="422" y="657"/>
                  </a:lnTo>
                  <a:lnTo>
                    <a:pt x="452" y="648"/>
                  </a:lnTo>
                  <a:lnTo>
                    <a:pt x="452" y="806"/>
                  </a:lnTo>
                  <a:lnTo>
                    <a:pt x="452" y="806"/>
                  </a:lnTo>
                  <a:lnTo>
                    <a:pt x="429" y="816"/>
                  </a:lnTo>
                  <a:lnTo>
                    <a:pt x="410" y="823"/>
                  </a:lnTo>
                  <a:lnTo>
                    <a:pt x="389" y="828"/>
                  </a:lnTo>
                  <a:lnTo>
                    <a:pt x="369" y="834"/>
                  </a:lnTo>
                  <a:lnTo>
                    <a:pt x="369" y="834"/>
                  </a:lnTo>
                  <a:lnTo>
                    <a:pt x="349" y="837"/>
                  </a:lnTo>
                  <a:lnTo>
                    <a:pt x="327" y="840"/>
                  </a:lnTo>
                  <a:lnTo>
                    <a:pt x="303" y="841"/>
                  </a:lnTo>
                  <a:lnTo>
                    <a:pt x="278" y="841"/>
                  </a:lnTo>
                  <a:lnTo>
                    <a:pt x="278" y="841"/>
                  </a:lnTo>
                  <a:lnTo>
                    <a:pt x="251" y="841"/>
                  </a:lnTo>
                  <a:lnTo>
                    <a:pt x="227" y="838"/>
                  </a:lnTo>
                  <a:lnTo>
                    <a:pt x="206" y="834"/>
                  </a:lnTo>
                  <a:lnTo>
                    <a:pt x="185" y="828"/>
                  </a:lnTo>
                  <a:lnTo>
                    <a:pt x="167" y="820"/>
                  </a:lnTo>
                  <a:lnTo>
                    <a:pt x="150" y="812"/>
                  </a:lnTo>
                  <a:lnTo>
                    <a:pt x="136" y="800"/>
                  </a:lnTo>
                  <a:lnTo>
                    <a:pt x="124" y="788"/>
                  </a:lnTo>
                  <a:lnTo>
                    <a:pt x="124" y="788"/>
                  </a:lnTo>
                  <a:lnTo>
                    <a:pt x="113" y="774"/>
                  </a:lnTo>
                  <a:lnTo>
                    <a:pt x="103" y="757"/>
                  </a:lnTo>
                  <a:lnTo>
                    <a:pt x="94" y="739"/>
                  </a:lnTo>
                  <a:lnTo>
                    <a:pt x="87" y="719"/>
                  </a:lnTo>
                  <a:lnTo>
                    <a:pt x="82" y="698"/>
                  </a:lnTo>
                  <a:lnTo>
                    <a:pt x="79" y="674"/>
                  </a:lnTo>
                  <a:lnTo>
                    <a:pt x="76" y="649"/>
                  </a:lnTo>
                  <a:lnTo>
                    <a:pt x="76" y="622"/>
                  </a:lnTo>
                  <a:lnTo>
                    <a:pt x="76" y="362"/>
                  </a:lnTo>
                  <a:lnTo>
                    <a:pt x="0" y="362"/>
                  </a:lnTo>
                  <a:lnTo>
                    <a:pt x="0" y="198"/>
                  </a:lnTo>
                  <a:lnTo>
                    <a:pt x="76" y="198"/>
                  </a:lnTo>
                  <a:lnTo>
                    <a:pt x="76" y="36"/>
                  </a:lnTo>
                  <a:lnTo>
                    <a:pt x="291" y="0"/>
                  </a:lnTo>
                  <a:lnTo>
                    <a:pt x="291" y="198"/>
                  </a:lnTo>
                  <a:lnTo>
                    <a:pt x="426" y="198"/>
                  </a:lnTo>
                  <a:lnTo>
                    <a:pt x="426" y="362"/>
                  </a:lnTo>
                  <a:lnTo>
                    <a:pt x="291" y="362"/>
                  </a:lnTo>
                  <a:lnTo>
                    <a:pt x="291" y="608"/>
                  </a:lnTo>
                  <a:lnTo>
                    <a:pt x="291" y="608"/>
                  </a:lnTo>
                  <a:lnTo>
                    <a:pt x="292" y="622"/>
                  </a:lnTo>
                  <a:lnTo>
                    <a:pt x="293" y="635"/>
                  </a:lnTo>
                  <a:lnTo>
                    <a:pt x="299" y="645"/>
                  </a:lnTo>
                  <a:lnTo>
                    <a:pt x="305" y="653"/>
                  </a:lnTo>
                  <a:lnTo>
                    <a:pt x="313" y="660"/>
                  </a:lnTo>
                  <a:lnTo>
                    <a:pt x="323" y="666"/>
                  </a:lnTo>
                  <a:lnTo>
                    <a:pt x="334" y="669"/>
                  </a:lnTo>
                  <a:lnTo>
                    <a:pt x="348" y="6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7">
              <a:extLst>
                <a:ext uri="{FF2B5EF4-FFF2-40B4-BE49-F238E27FC236}">
                  <a16:creationId xmlns:a16="http://schemas.microsoft.com/office/drawing/2014/main" id="{99052C11-BF99-4439-9B89-D7EFABD4E500}"/>
                </a:ext>
              </a:extLst>
            </p:cNvPr>
            <p:cNvSpPr>
              <a:spLocks/>
            </p:cNvSpPr>
            <p:nvPr/>
          </p:nvSpPr>
          <p:spPr bwMode="auto">
            <a:xfrm>
              <a:off x="4053" y="1638"/>
              <a:ext cx="225" cy="420"/>
            </a:xfrm>
            <a:custGeom>
              <a:avLst/>
              <a:gdLst>
                <a:gd name="T0" fmla="*/ 348 w 452"/>
                <a:gd name="T1" fmla="*/ 669 h 841"/>
                <a:gd name="T2" fmla="*/ 348 w 452"/>
                <a:gd name="T3" fmla="*/ 669 h 841"/>
                <a:gd name="T4" fmla="*/ 370 w 452"/>
                <a:gd name="T5" fmla="*/ 667 h 841"/>
                <a:gd name="T6" fmla="*/ 396 w 452"/>
                <a:gd name="T7" fmla="*/ 664 h 841"/>
                <a:gd name="T8" fmla="*/ 422 w 452"/>
                <a:gd name="T9" fmla="*/ 657 h 841"/>
                <a:gd name="T10" fmla="*/ 452 w 452"/>
                <a:gd name="T11" fmla="*/ 648 h 841"/>
                <a:gd name="T12" fmla="*/ 452 w 452"/>
                <a:gd name="T13" fmla="*/ 806 h 841"/>
                <a:gd name="T14" fmla="*/ 452 w 452"/>
                <a:gd name="T15" fmla="*/ 806 h 841"/>
                <a:gd name="T16" fmla="*/ 429 w 452"/>
                <a:gd name="T17" fmla="*/ 816 h 841"/>
                <a:gd name="T18" fmla="*/ 410 w 452"/>
                <a:gd name="T19" fmla="*/ 823 h 841"/>
                <a:gd name="T20" fmla="*/ 389 w 452"/>
                <a:gd name="T21" fmla="*/ 828 h 841"/>
                <a:gd name="T22" fmla="*/ 369 w 452"/>
                <a:gd name="T23" fmla="*/ 834 h 841"/>
                <a:gd name="T24" fmla="*/ 369 w 452"/>
                <a:gd name="T25" fmla="*/ 834 h 841"/>
                <a:gd name="T26" fmla="*/ 349 w 452"/>
                <a:gd name="T27" fmla="*/ 837 h 841"/>
                <a:gd name="T28" fmla="*/ 327 w 452"/>
                <a:gd name="T29" fmla="*/ 840 h 841"/>
                <a:gd name="T30" fmla="*/ 303 w 452"/>
                <a:gd name="T31" fmla="*/ 841 h 841"/>
                <a:gd name="T32" fmla="*/ 278 w 452"/>
                <a:gd name="T33" fmla="*/ 841 h 841"/>
                <a:gd name="T34" fmla="*/ 278 w 452"/>
                <a:gd name="T35" fmla="*/ 841 h 841"/>
                <a:gd name="T36" fmla="*/ 251 w 452"/>
                <a:gd name="T37" fmla="*/ 841 h 841"/>
                <a:gd name="T38" fmla="*/ 227 w 452"/>
                <a:gd name="T39" fmla="*/ 838 h 841"/>
                <a:gd name="T40" fmla="*/ 206 w 452"/>
                <a:gd name="T41" fmla="*/ 834 h 841"/>
                <a:gd name="T42" fmla="*/ 185 w 452"/>
                <a:gd name="T43" fmla="*/ 828 h 841"/>
                <a:gd name="T44" fmla="*/ 167 w 452"/>
                <a:gd name="T45" fmla="*/ 820 h 841"/>
                <a:gd name="T46" fmla="*/ 150 w 452"/>
                <a:gd name="T47" fmla="*/ 812 h 841"/>
                <a:gd name="T48" fmla="*/ 136 w 452"/>
                <a:gd name="T49" fmla="*/ 800 h 841"/>
                <a:gd name="T50" fmla="*/ 124 w 452"/>
                <a:gd name="T51" fmla="*/ 788 h 841"/>
                <a:gd name="T52" fmla="*/ 124 w 452"/>
                <a:gd name="T53" fmla="*/ 788 h 841"/>
                <a:gd name="T54" fmla="*/ 113 w 452"/>
                <a:gd name="T55" fmla="*/ 774 h 841"/>
                <a:gd name="T56" fmla="*/ 103 w 452"/>
                <a:gd name="T57" fmla="*/ 757 h 841"/>
                <a:gd name="T58" fmla="*/ 94 w 452"/>
                <a:gd name="T59" fmla="*/ 739 h 841"/>
                <a:gd name="T60" fmla="*/ 87 w 452"/>
                <a:gd name="T61" fmla="*/ 719 h 841"/>
                <a:gd name="T62" fmla="*/ 82 w 452"/>
                <a:gd name="T63" fmla="*/ 698 h 841"/>
                <a:gd name="T64" fmla="*/ 79 w 452"/>
                <a:gd name="T65" fmla="*/ 674 h 841"/>
                <a:gd name="T66" fmla="*/ 76 w 452"/>
                <a:gd name="T67" fmla="*/ 649 h 841"/>
                <a:gd name="T68" fmla="*/ 76 w 452"/>
                <a:gd name="T69" fmla="*/ 622 h 841"/>
                <a:gd name="T70" fmla="*/ 76 w 452"/>
                <a:gd name="T71" fmla="*/ 362 h 841"/>
                <a:gd name="T72" fmla="*/ 0 w 452"/>
                <a:gd name="T73" fmla="*/ 362 h 841"/>
                <a:gd name="T74" fmla="*/ 0 w 452"/>
                <a:gd name="T75" fmla="*/ 198 h 841"/>
                <a:gd name="T76" fmla="*/ 76 w 452"/>
                <a:gd name="T77" fmla="*/ 198 h 841"/>
                <a:gd name="T78" fmla="*/ 76 w 452"/>
                <a:gd name="T79" fmla="*/ 36 h 841"/>
                <a:gd name="T80" fmla="*/ 291 w 452"/>
                <a:gd name="T81" fmla="*/ 0 h 841"/>
                <a:gd name="T82" fmla="*/ 291 w 452"/>
                <a:gd name="T83" fmla="*/ 198 h 841"/>
                <a:gd name="T84" fmla="*/ 426 w 452"/>
                <a:gd name="T85" fmla="*/ 198 h 841"/>
                <a:gd name="T86" fmla="*/ 426 w 452"/>
                <a:gd name="T87" fmla="*/ 362 h 841"/>
                <a:gd name="T88" fmla="*/ 291 w 452"/>
                <a:gd name="T89" fmla="*/ 362 h 841"/>
                <a:gd name="T90" fmla="*/ 291 w 452"/>
                <a:gd name="T91" fmla="*/ 608 h 841"/>
                <a:gd name="T92" fmla="*/ 291 w 452"/>
                <a:gd name="T93" fmla="*/ 608 h 841"/>
                <a:gd name="T94" fmla="*/ 292 w 452"/>
                <a:gd name="T95" fmla="*/ 622 h 841"/>
                <a:gd name="T96" fmla="*/ 293 w 452"/>
                <a:gd name="T97" fmla="*/ 635 h 841"/>
                <a:gd name="T98" fmla="*/ 299 w 452"/>
                <a:gd name="T99" fmla="*/ 645 h 841"/>
                <a:gd name="T100" fmla="*/ 305 w 452"/>
                <a:gd name="T101" fmla="*/ 653 h 841"/>
                <a:gd name="T102" fmla="*/ 313 w 452"/>
                <a:gd name="T103" fmla="*/ 660 h 841"/>
                <a:gd name="T104" fmla="*/ 323 w 452"/>
                <a:gd name="T105" fmla="*/ 666 h 841"/>
                <a:gd name="T106" fmla="*/ 334 w 452"/>
                <a:gd name="T107" fmla="*/ 669 h 841"/>
                <a:gd name="T108" fmla="*/ 348 w 452"/>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841">
                  <a:moveTo>
                    <a:pt x="348" y="669"/>
                  </a:moveTo>
                  <a:lnTo>
                    <a:pt x="348" y="669"/>
                  </a:lnTo>
                  <a:lnTo>
                    <a:pt x="370" y="667"/>
                  </a:lnTo>
                  <a:lnTo>
                    <a:pt x="396" y="664"/>
                  </a:lnTo>
                  <a:lnTo>
                    <a:pt x="422" y="657"/>
                  </a:lnTo>
                  <a:lnTo>
                    <a:pt x="452" y="648"/>
                  </a:lnTo>
                  <a:lnTo>
                    <a:pt x="452" y="806"/>
                  </a:lnTo>
                  <a:lnTo>
                    <a:pt x="452" y="806"/>
                  </a:lnTo>
                  <a:lnTo>
                    <a:pt x="429" y="816"/>
                  </a:lnTo>
                  <a:lnTo>
                    <a:pt x="410" y="823"/>
                  </a:lnTo>
                  <a:lnTo>
                    <a:pt x="389" y="828"/>
                  </a:lnTo>
                  <a:lnTo>
                    <a:pt x="369" y="834"/>
                  </a:lnTo>
                  <a:lnTo>
                    <a:pt x="369" y="834"/>
                  </a:lnTo>
                  <a:lnTo>
                    <a:pt x="349" y="837"/>
                  </a:lnTo>
                  <a:lnTo>
                    <a:pt x="327" y="840"/>
                  </a:lnTo>
                  <a:lnTo>
                    <a:pt x="303" y="841"/>
                  </a:lnTo>
                  <a:lnTo>
                    <a:pt x="278" y="841"/>
                  </a:lnTo>
                  <a:lnTo>
                    <a:pt x="278" y="841"/>
                  </a:lnTo>
                  <a:lnTo>
                    <a:pt x="251" y="841"/>
                  </a:lnTo>
                  <a:lnTo>
                    <a:pt x="227" y="838"/>
                  </a:lnTo>
                  <a:lnTo>
                    <a:pt x="206" y="834"/>
                  </a:lnTo>
                  <a:lnTo>
                    <a:pt x="185" y="828"/>
                  </a:lnTo>
                  <a:lnTo>
                    <a:pt x="167" y="820"/>
                  </a:lnTo>
                  <a:lnTo>
                    <a:pt x="150" y="812"/>
                  </a:lnTo>
                  <a:lnTo>
                    <a:pt x="136" y="800"/>
                  </a:lnTo>
                  <a:lnTo>
                    <a:pt x="124" y="788"/>
                  </a:lnTo>
                  <a:lnTo>
                    <a:pt x="124" y="788"/>
                  </a:lnTo>
                  <a:lnTo>
                    <a:pt x="113" y="774"/>
                  </a:lnTo>
                  <a:lnTo>
                    <a:pt x="103" y="757"/>
                  </a:lnTo>
                  <a:lnTo>
                    <a:pt x="94" y="739"/>
                  </a:lnTo>
                  <a:lnTo>
                    <a:pt x="87" y="719"/>
                  </a:lnTo>
                  <a:lnTo>
                    <a:pt x="82" y="698"/>
                  </a:lnTo>
                  <a:lnTo>
                    <a:pt x="79" y="674"/>
                  </a:lnTo>
                  <a:lnTo>
                    <a:pt x="76" y="649"/>
                  </a:lnTo>
                  <a:lnTo>
                    <a:pt x="76" y="622"/>
                  </a:lnTo>
                  <a:lnTo>
                    <a:pt x="76" y="362"/>
                  </a:lnTo>
                  <a:lnTo>
                    <a:pt x="0" y="362"/>
                  </a:lnTo>
                  <a:lnTo>
                    <a:pt x="0" y="198"/>
                  </a:lnTo>
                  <a:lnTo>
                    <a:pt x="76" y="198"/>
                  </a:lnTo>
                  <a:lnTo>
                    <a:pt x="76" y="36"/>
                  </a:lnTo>
                  <a:lnTo>
                    <a:pt x="291" y="0"/>
                  </a:lnTo>
                  <a:lnTo>
                    <a:pt x="291" y="198"/>
                  </a:lnTo>
                  <a:lnTo>
                    <a:pt x="426" y="198"/>
                  </a:lnTo>
                  <a:lnTo>
                    <a:pt x="426" y="362"/>
                  </a:lnTo>
                  <a:lnTo>
                    <a:pt x="291" y="362"/>
                  </a:lnTo>
                  <a:lnTo>
                    <a:pt x="291" y="608"/>
                  </a:lnTo>
                  <a:lnTo>
                    <a:pt x="291" y="608"/>
                  </a:lnTo>
                  <a:lnTo>
                    <a:pt x="292" y="622"/>
                  </a:lnTo>
                  <a:lnTo>
                    <a:pt x="293" y="635"/>
                  </a:lnTo>
                  <a:lnTo>
                    <a:pt x="299" y="645"/>
                  </a:lnTo>
                  <a:lnTo>
                    <a:pt x="305" y="653"/>
                  </a:lnTo>
                  <a:lnTo>
                    <a:pt x="313" y="660"/>
                  </a:lnTo>
                  <a:lnTo>
                    <a:pt x="323" y="666"/>
                  </a:lnTo>
                  <a:lnTo>
                    <a:pt x="334" y="669"/>
                  </a:lnTo>
                  <a:lnTo>
                    <a:pt x="348" y="6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8">
              <a:extLst>
                <a:ext uri="{FF2B5EF4-FFF2-40B4-BE49-F238E27FC236}">
                  <a16:creationId xmlns:a16="http://schemas.microsoft.com/office/drawing/2014/main" id="{CC0382F8-F00C-4F9F-B4E3-14800C20FC44}"/>
                </a:ext>
              </a:extLst>
            </p:cNvPr>
            <p:cNvSpPr>
              <a:spLocks/>
            </p:cNvSpPr>
            <p:nvPr/>
          </p:nvSpPr>
          <p:spPr bwMode="auto">
            <a:xfrm>
              <a:off x="4299" y="1638"/>
              <a:ext cx="225" cy="420"/>
            </a:xfrm>
            <a:custGeom>
              <a:avLst/>
              <a:gdLst>
                <a:gd name="T0" fmla="*/ 347 w 450"/>
                <a:gd name="T1" fmla="*/ 669 h 841"/>
                <a:gd name="T2" fmla="*/ 347 w 450"/>
                <a:gd name="T3" fmla="*/ 669 h 841"/>
                <a:gd name="T4" fmla="*/ 370 w 450"/>
                <a:gd name="T5" fmla="*/ 667 h 841"/>
                <a:gd name="T6" fmla="*/ 395 w 450"/>
                <a:gd name="T7" fmla="*/ 664 h 841"/>
                <a:gd name="T8" fmla="*/ 422 w 450"/>
                <a:gd name="T9" fmla="*/ 657 h 841"/>
                <a:gd name="T10" fmla="*/ 450 w 450"/>
                <a:gd name="T11" fmla="*/ 648 h 841"/>
                <a:gd name="T12" fmla="*/ 450 w 450"/>
                <a:gd name="T13" fmla="*/ 806 h 841"/>
                <a:gd name="T14" fmla="*/ 450 w 450"/>
                <a:gd name="T15" fmla="*/ 806 h 841"/>
                <a:gd name="T16" fmla="*/ 429 w 450"/>
                <a:gd name="T17" fmla="*/ 816 h 841"/>
                <a:gd name="T18" fmla="*/ 408 w 450"/>
                <a:gd name="T19" fmla="*/ 823 h 841"/>
                <a:gd name="T20" fmla="*/ 388 w 450"/>
                <a:gd name="T21" fmla="*/ 828 h 841"/>
                <a:gd name="T22" fmla="*/ 368 w 450"/>
                <a:gd name="T23" fmla="*/ 834 h 841"/>
                <a:gd name="T24" fmla="*/ 368 w 450"/>
                <a:gd name="T25" fmla="*/ 834 h 841"/>
                <a:gd name="T26" fmla="*/ 347 w 450"/>
                <a:gd name="T27" fmla="*/ 837 h 841"/>
                <a:gd name="T28" fmla="*/ 326 w 450"/>
                <a:gd name="T29" fmla="*/ 840 h 841"/>
                <a:gd name="T30" fmla="*/ 303 w 450"/>
                <a:gd name="T31" fmla="*/ 841 h 841"/>
                <a:gd name="T32" fmla="*/ 277 w 450"/>
                <a:gd name="T33" fmla="*/ 841 h 841"/>
                <a:gd name="T34" fmla="*/ 277 w 450"/>
                <a:gd name="T35" fmla="*/ 841 h 841"/>
                <a:gd name="T36" fmla="*/ 251 w 450"/>
                <a:gd name="T37" fmla="*/ 841 h 841"/>
                <a:gd name="T38" fmla="*/ 227 w 450"/>
                <a:gd name="T39" fmla="*/ 838 h 841"/>
                <a:gd name="T40" fmla="*/ 204 w 450"/>
                <a:gd name="T41" fmla="*/ 834 h 841"/>
                <a:gd name="T42" fmla="*/ 185 w 450"/>
                <a:gd name="T43" fmla="*/ 828 h 841"/>
                <a:gd name="T44" fmla="*/ 167 w 450"/>
                <a:gd name="T45" fmla="*/ 820 h 841"/>
                <a:gd name="T46" fmla="*/ 150 w 450"/>
                <a:gd name="T47" fmla="*/ 812 h 841"/>
                <a:gd name="T48" fmla="*/ 136 w 450"/>
                <a:gd name="T49" fmla="*/ 800 h 841"/>
                <a:gd name="T50" fmla="*/ 122 w 450"/>
                <a:gd name="T51" fmla="*/ 788 h 841"/>
                <a:gd name="T52" fmla="*/ 122 w 450"/>
                <a:gd name="T53" fmla="*/ 788 h 841"/>
                <a:gd name="T54" fmla="*/ 111 w 450"/>
                <a:gd name="T55" fmla="*/ 774 h 841"/>
                <a:gd name="T56" fmla="*/ 102 w 450"/>
                <a:gd name="T57" fmla="*/ 757 h 841"/>
                <a:gd name="T58" fmla="*/ 94 w 450"/>
                <a:gd name="T59" fmla="*/ 739 h 841"/>
                <a:gd name="T60" fmla="*/ 87 w 450"/>
                <a:gd name="T61" fmla="*/ 719 h 841"/>
                <a:gd name="T62" fmla="*/ 81 w 450"/>
                <a:gd name="T63" fmla="*/ 698 h 841"/>
                <a:gd name="T64" fmla="*/ 78 w 450"/>
                <a:gd name="T65" fmla="*/ 674 h 841"/>
                <a:gd name="T66" fmla="*/ 75 w 450"/>
                <a:gd name="T67" fmla="*/ 649 h 841"/>
                <a:gd name="T68" fmla="*/ 75 w 450"/>
                <a:gd name="T69" fmla="*/ 622 h 841"/>
                <a:gd name="T70" fmla="*/ 75 w 450"/>
                <a:gd name="T71" fmla="*/ 362 h 841"/>
                <a:gd name="T72" fmla="*/ 0 w 450"/>
                <a:gd name="T73" fmla="*/ 362 h 841"/>
                <a:gd name="T74" fmla="*/ 0 w 450"/>
                <a:gd name="T75" fmla="*/ 198 h 841"/>
                <a:gd name="T76" fmla="*/ 75 w 450"/>
                <a:gd name="T77" fmla="*/ 198 h 841"/>
                <a:gd name="T78" fmla="*/ 75 w 450"/>
                <a:gd name="T79" fmla="*/ 35 h 841"/>
                <a:gd name="T80" fmla="*/ 290 w 450"/>
                <a:gd name="T81" fmla="*/ 0 h 841"/>
                <a:gd name="T82" fmla="*/ 290 w 450"/>
                <a:gd name="T83" fmla="*/ 198 h 841"/>
                <a:gd name="T84" fmla="*/ 426 w 450"/>
                <a:gd name="T85" fmla="*/ 198 h 841"/>
                <a:gd name="T86" fmla="*/ 426 w 450"/>
                <a:gd name="T87" fmla="*/ 362 h 841"/>
                <a:gd name="T88" fmla="*/ 290 w 450"/>
                <a:gd name="T89" fmla="*/ 362 h 841"/>
                <a:gd name="T90" fmla="*/ 290 w 450"/>
                <a:gd name="T91" fmla="*/ 608 h 841"/>
                <a:gd name="T92" fmla="*/ 290 w 450"/>
                <a:gd name="T93" fmla="*/ 608 h 841"/>
                <a:gd name="T94" fmla="*/ 290 w 450"/>
                <a:gd name="T95" fmla="*/ 622 h 841"/>
                <a:gd name="T96" fmla="*/ 293 w 450"/>
                <a:gd name="T97" fmla="*/ 635 h 841"/>
                <a:gd name="T98" fmla="*/ 298 w 450"/>
                <a:gd name="T99" fmla="*/ 645 h 841"/>
                <a:gd name="T100" fmla="*/ 304 w 450"/>
                <a:gd name="T101" fmla="*/ 653 h 841"/>
                <a:gd name="T102" fmla="*/ 312 w 450"/>
                <a:gd name="T103" fmla="*/ 660 h 841"/>
                <a:gd name="T104" fmla="*/ 322 w 450"/>
                <a:gd name="T105" fmla="*/ 666 h 841"/>
                <a:gd name="T106" fmla="*/ 333 w 450"/>
                <a:gd name="T107" fmla="*/ 669 h 841"/>
                <a:gd name="T108" fmla="*/ 347 w 450"/>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841">
                  <a:moveTo>
                    <a:pt x="347" y="669"/>
                  </a:moveTo>
                  <a:lnTo>
                    <a:pt x="347" y="669"/>
                  </a:lnTo>
                  <a:lnTo>
                    <a:pt x="370" y="667"/>
                  </a:lnTo>
                  <a:lnTo>
                    <a:pt x="395" y="664"/>
                  </a:lnTo>
                  <a:lnTo>
                    <a:pt x="422" y="657"/>
                  </a:lnTo>
                  <a:lnTo>
                    <a:pt x="450" y="648"/>
                  </a:lnTo>
                  <a:lnTo>
                    <a:pt x="450" y="806"/>
                  </a:lnTo>
                  <a:lnTo>
                    <a:pt x="450" y="806"/>
                  </a:lnTo>
                  <a:lnTo>
                    <a:pt x="429" y="816"/>
                  </a:lnTo>
                  <a:lnTo>
                    <a:pt x="408" y="823"/>
                  </a:lnTo>
                  <a:lnTo>
                    <a:pt x="388" y="828"/>
                  </a:lnTo>
                  <a:lnTo>
                    <a:pt x="368" y="834"/>
                  </a:lnTo>
                  <a:lnTo>
                    <a:pt x="368" y="834"/>
                  </a:lnTo>
                  <a:lnTo>
                    <a:pt x="347" y="837"/>
                  </a:lnTo>
                  <a:lnTo>
                    <a:pt x="326" y="840"/>
                  </a:lnTo>
                  <a:lnTo>
                    <a:pt x="303" y="841"/>
                  </a:lnTo>
                  <a:lnTo>
                    <a:pt x="277" y="841"/>
                  </a:lnTo>
                  <a:lnTo>
                    <a:pt x="277" y="841"/>
                  </a:lnTo>
                  <a:lnTo>
                    <a:pt x="251" y="841"/>
                  </a:lnTo>
                  <a:lnTo>
                    <a:pt x="227" y="838"/>
                  </a:lnTo>
                  <a:lnTo>
                    <a:pt x="204" y="834"/>
                  </a:lnTo>
                  <a:lnTo>
                    <a:pt x="185" y="828"/>
                  </a:lnTo>
                  <a:lnTo>
                    <a:pt x="167" y="820"/>
                  </a:lnTo>
                  <a:lnTo>
                    <a:pt x="150" y="812"/>
                  </a:lnTo>
                  <a:lnTo>
                    <a:pt x="136" y="800"/>
                  </a:lnTo>
                  <a:lnTo>
                    <a:pt x="122" y="788"/>
                  </a:lnTo>
                  <a:lnTo>
                    <a:pt x="122" y="788"/>
                  </a:lnTo>
                  <a:lnTo>
                    <a:pt x="111" y="774"/>
                  </a:lnTo>
                  <a:lnTo>
                    <a:pt x="102" y="757"/>
                  </a:lnTo>
                  <a:lnTo>
                    <a:pt x="94" y="739"/>
                  </a:lnTo>
                  <a:lnTo>
                    <a:pt x="87" y="719"/>
                  </a:lnTo>
                  <a:lnTo>
                    <a:pt x="81" y="698"/>
                  </a:lnTo>
                  <a:lnTo>
                    <a:pt x="78" y="674"/>
                  </a:lnTo>
                  <a:lnTo>
                    <a:pt x="75" y="649"/>
                  </a:lnTo>
                  <a:lnTo>
                    <a:pt x="75" y="622"/>
                  </a:lnTo>
                  <a:lnTo>
                    <a:pt x="75" y="362"/>
                  </a:lnTo>
                  <a:lnTo>
                    <a:pt x="0" y="362"/>
                  </a:lnTo>
                  <a:lnTo>
                    <a:pt x="0" y="198"/>
                  </a:lnTo>
                  <a:lnTo>
                    <a:pt x="75" y="198"/>
                  </a:lnTo>
                  <a:lnTo>
                    <a:pt x="75" y="35"/>
                  </a:lnTo>
                  <a:lnTo>
                    <a:pt x="290" y="0"/>
                  </a:lnTo>
                  <a:lnTo>
                    <a:pt x="290" y="198"/>
                  </a:lnTo>
                  <a:lnTo>
                    <a:pt x="426" y="198"/>
                  </a:lnTo>
                  <a:lnTo>
                    <a:pt x="426" y="362"/>
                  </a:lnTo>
                  <a:lnTo>
                    <a:pt x="290" y="362"/>
                  </a:lnTo>
                  <a:lnTo>
                    <a:pt x="290" y="608"/>
                  </a:lnTo>
                  <a:lnTo>
                    <a:pt x="290" y="608"/>
                  </a:lnTo>
                  <a:lnTo>
                    <a:pt x="290" y="622"/>
                  </a:lnTo>
                  <a:lnTo>
                    <a:pt x="293" y="635"/>
                  </a:lnTo>
                  <a:lnTo>
                    <a:pt x="298" y="645"/>
                  </a:lnTo>
                  <a:lnTo>
                    <a:pt x="304" y="653"/>
                  </a:lnTo>
                  <a:lnTo>
                    <a:pt x="312" y="660"/>
                  </a:lnTo>
                  <a:lnTo>
                    <a:pt x="322" y="666"/>
                  </a:lnTo>
                  <a:lnTo>
                    <a:pt x="333" y="669"/>
                  </a:lnTo>
                  <a:lnTo>
                    <a:pt x="347" y="6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a:extLst>
                <a:ext uri="{FF2B5EF4-FFF2-40B4-BE49-F238E27FC236}">
                  <a16:creationId xmlns:a16="http://schemas.microsoft.com/office/drawing/2014/main" id="{79B9B0C4-8312-4A76-B932-A9E8F4477F15}"/>
                </a:ext>
              </a:extLst>
            </p:cNvPr>
            <p:cNvSpPr>
              <a:spLocks/>
            </p:cNvSpPr>
            <p:nvPr/>
          </p:nvSpPr>
          <p:spPr bwMode="auto">
            <a:xfrm>
              <a:off x="4299" y="1638"/>
              <a:ext cx="225" cy="420"/>
            </a:xfrm>
            <a:custGeom>
              <a:avLst/>
              <a:gdLst>
                <a:gd name="T0" fmla="*/ 347 w 450"/>
                <a:gd name="T1" fmla="*/ 669 h 841"/>
                <a:gd name="T2" fmla="*/ 347 w 450"/>
                <a:gd name="T3" fmla="*/ 669 h 841"/>
                <a:gd name="T4" fmla="*/ 370 w 450"/>
                <a:gd name="T5" fmla="*/ 667 h 841"/>
                <a:gd name="T6" fmla="*/ 395 w 450"/>
                <a:gd name="T7" fmla="*/ 664 h 841"/>
                <a:gd name="T8" fmla="*/ 422 w 450"/>
                <a:gd name="T9" fmla="*/ 657 h 841"/>
                <a:gd name="T10" fmla="*/ 450 w 450"/>
                <a:gd name="T11" fmla="*/ 648 h 841"/>
                <a:gd name="T12" fmla="*/ 450 w 450"/>
                <a:gd name="T13" fmla="*/ 806 h 841"/>
                <a:gd name="T14" fmla="*/ 450 w 450"/>
                <a:gd name="T15" fmla="*/ 806 h 841"/>
                <a:gd name="T16" fmla="*/ 429 w 450"/>
                <a:gd name="T17" fmla="*/ 816 h 841"/>
                <a:gd name="T18" fmla="*/ 408 w 450"/>
                <a:gd name="T19" fmla="*/ 823 h 841"/>
                <a:gd name="T20" fmla="*/ 388 w 450"/>
                <a:gd name="T21" fmla="*/ 828 h 841"/>
                <a:gd name="T22" fmla="*/ 368 w 450"/>
                <a:gd name="T23" fmla="*/ 834 h 841"/>
                <a:gd name="T24" fmla="*/ 368 w 450"/>
                <a:gd name="T25" fmla="*/ 834 h 841"/>
                <a:gd name="T26" fmla="*/ 347 w 450"/>
                <a:gd name="T27" fmla="*/ 837 h 841"/>
                <a:gd name="T28" fmla="*/ 326 w 450"/>
                <a:gd name="T29" fmla="*/ 840 h 841"/>
                <a:gd name="T30" fmla="*/ 303 w 450"/>
                <a:gd name="T31" fmla="*/ 841 h 841"/>
                <a:gd name="T32" fmla="*/ 277 w 450"/>
                <a:gd name="T33" fmla="*/ 841 h 841"/>
                <a:gd name="T34" fmla="*/ 277 w 450"/>
                <a:gd name="T35" fmla="*/ 841 h 841"/>
                <a:gd name="T36" fmla="*/ 251 w 450"/>
                <a:gd name="T37" fmla="*/ 841 h 841"/>
                <a:gd name="T38" fmla="*/ 227 w 450"/>
                <a:gd name="T39" fmla="*/ 838 h 841"/>
                <a:gd name="T40" fmla="*/ 204 w 450"/>
                <a:gd name="T41" fmla="*/ 834 h 841"/>
                <a:gd name="T42" fmla="*/ 185 w 450"/>
                <a:gd name="T43" fmla="*/ 828 h 841"/>
                <a:gd name="T44" fmla="*/ 167 w 450"/>
                <a:gd name="T45" fmla="*/ 820 h 841"/>
                <a:gd name="T46" fmla="*/ 150 w 450"/>
                <a:gd name="T47" fmla="*/ 812 h 841"/>
                <a:gd name="T48" fmla="*/ 136 w 450"/>
                <a:gd name="T49" fmla="*/ 800 h 841"/>
                <a:gd name="T50" fmla="*/ 122 w 450"/>
                <a:gd name="T51" fmla="*/ 788 h 841"/>
                <a:gd name="T52" fmla="*/ 122 w 450"/>
                <a:gd name="T53" fmla="*/ 788 h 841"/>
                <a:gd name="T54" fmla="*/ 111 w 450"/>
                <a:gd name="T55" fmla="*/ 774 h 841"/>
                <a:gd name="T56" fmla="*/ 102 w 450"/>
                <a:gd name="T57" fmla="*/ 757 h 841"/>
                <a:gd name="T58" fmla="*/ 94 w 450"/>
                <a:gd name="T59" fmla="*/ 739 h 841"/>
                <a:gd name="T60" fmla="*/ 87 w 450"/>
                <a:gd name="T61" fmla="*/ 719 h 841"/>
                <a:gd name="T62" fmla="*/ 81 w 450"/>
                <a:gd name="T63" fmla="*/ 698 h 841"/>
                <a:gd name="T64" fmla="*/ 78 w 450"/>
                <a:gd name="T65" fmla="*/ 674 h 841"/>
                <a:gd name="T66" fmla="*/ 75 w 450"/>
                <a:gd name="T67" fmla="*/ 649 h 841"/>
                <a:gd name="T68" fmla="*/ 75 w 450"/>
                <a:gd name="T69" fmla="*/ 622 h 841"/>
                <a:gd name="T70" fmla="*/ 75 w 450"/>
                <a:gd name="T71" fmla="*/ 362 h 841"/>
                <a:gd name="T72" fmla="*/ 0 w 450"/>
                <a:gd name="T73" fmla="*/ 362 h 841"/>
                <a:gd name="T74" fmla="*/ 0 w 450"/>
                <a:gd name="T75" fmla="*/ 198 h 841"/>
                <a:gd name="T76" fmla="*/ 75 w 450"/>
                <a:gd name="T77" fmla="*/ 198 h 841"/>
                <a:gd name="T78" fmla="*/ 75 w 450"/>
                <a:gd name="T79" fmla="*/ 35 h 841"/>
                <a:gd name="T80" fmla="*/ 290 w 450"/>
                <a:gd name="T81" fmla="*/ 0 h 841"/>
                <a:gd name="T82" fmla="*/ 290 w 450"/>
                <a:gd name="T83" fmla="*/ 198 h 841"/>
                <a:gd name="T84" fmla="*/ 426 w 450"/>
                <a:gd name="T85" fmla="*/ 198 h 841"/>
                <a:gd name="T86" fmla="*/ 426 w 450"/>
                <a:gd name="T87" fmla="*/ 362 h 841"/>
                <a:gd name="T88" fmla="*/ 290 w 450"/>
                <a:gd name="T89" fmla="*/ 362 h 841"/>
                <a:gd name="T90" fmla="*/ 290 w 450"/>
                <a:gd name="T91" fmla="*/ 608 h 841"/>
                <a:gd name="T92" fmla="*/ 290 w 450"/>
                <a:gd name="T93" fmla="*/ 608 h 841"/>
                <a:gd name="T94" fmla="*/ 290 w 450"/>
                <a:gd name="T95" fmla="*/ 622 h 841"/>
                <a:gd name="T96" fmla="*/ 293 w 450"/>
                <a:gd name="T97" fmla="*/ 635 h 841"/>
                <a:gd name="T98" fmla="*/ 298 w 450"/>
                <a:gd name="T99" fmla="*/ 645 h 841"/>
                <a:gd name="T100" fmla="*/ 304 w 450"/>
                <a:gd name="T101" fmla="*/ 653 h 841"/>
                <a:gd name="T102" fmla="*/ 312 w 450"/>
                <a:gd name="T103" fmla="*/ 660 h 841"/>
                <a:gd name="T104" fmla="*/ 322 w 450"/>
                <a:gd name="T105" fmla="*/ 666 h 841"/>
                <a:gd name="T106" fmla="*/ 333 w 450"/>
                <a:gd name="T107" fmla="*/ 669 h 841"/>
                <a:gd name="T108" fmla="*/ 347 w 450"/>
                <a:gd name="T109" fmla="*/ 669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841">
                  <a:moveTo>
                    <a:pt x="347" y="669"/>
                  </a:moveTo>
                  <a:lnTo>
                    <a:pt x="347" y="669"/>
                  </a:lnTo>
                  <a:lnTo>
                    <a:pt x="370" y="667"/>
                  </a:lnTo>
                  <a:lnTo>
                    <a:pt x="395" y="664"/>
                  </a:lnTo>
                  <a:lnTo>
                    <a:pt x="422" y="657"/>
                  </a:lnTo>
                  <a:lnTo>
                    <a:pt x="450" y="648"/>
                  </a:lnTo>
                  <a:lnTo>
                    <a:pt x="450" y="806"/>
                  </a:lnTo>
                  <a:lnTo>
                    <a:pt x="450" y="806"/>
                  </a:lnTo>
                  <a:lnTo>
                    <a:pt x="429" y="816"/>
                  </a:lnTo>
                  <a:lnTo>
                    <a:pt x="408" y="823"/>
                  </a:lnTo>
                  <a:lnTo>
                    <a:pt x="388" y="828"/>
                  </a:lnTo>
                  <a:lnTo>
                    <a:pt x="368" y="834"/>
                  </a:lnTo>
                  <a:lnTo>
                    <a:pt x="368" y="834"/>
                  </a:lnTo>
                  <a:lnTo>
                    <a:pt x="347" y="837"/>
                  </a:lnTo>
                  <a:lnTo>
                    <a:pt x="326" y="840"/>
                  </a:lnTo>
                  <a:lnTo>
                    <a:pt x="303" y="841"/>
                  </a:lnTo>
                  <a:lnTo>
                    <a:pt x="277" y="841"/>
                  </a:lnTo>
                  <a:lnTo>
                    <a:pt x="277" y="841"/>
                  </a:lnTo>
                  <a:lnTo>
                    <a:pt x="251" y="841"/>
                  </a:lnTo>
                  <a:lnTo>
                    <a:pt x="227" y="838"/>
                  </a:lnTo>
                  <a:lnTo>
                    <a:pt x="204" y="834"/>
                  </a:lnTo>
                  <a:lnTo>
                    <a:pt x="185" y="828"/>
                  </a:lnTo>
                  <a:lnTo>
                    <a:pt x="167" y="820"/>
                  </a:lnTo>
                  <a:lnTo>
                    <a:pt x="150" y="812"/>
                  </a:lnTo>
                  <a:lnTo>
                    <a:pt x="136" y="800"/>
                  </a:lnTo>
                  <a:lnTo>
                    <a:pt x="122" y="788"/>
                  </a:lnTo>
                  <a:lnTo>
                    <a:pt x="122" y="788"/>
                  </a:lnTo>
                  <a:lnTo>
                    <a:pt x="111" y="774"/>
                  </a:lnTo>
                  <a:lnTo>
                    <a:pt x="102" y="757"/>
                  </a:lnTo>
                  <a:lnTo>
                    <a:pt x="94" y="739"/>
                  </a:lnTo>
                  <a:lnTo>
                    <a:pt x="87" y="719"/>
                  </a:lnTo>
                  <a:lnTo>
                    <a:pt x="81" y="698"/>
                  </a:lnTo>
                  <a:lnTo>
                    <a:pt x="78" y="674"/>
                  </a:lnTo>
                  <a:lnTo>
                    <a:pt x="75" y="649"/>
                  </a:lnTo>
                  <a:lnTo>
                    <a:pt x="75" y="622"/>
                  </a:lnTo>
                  <a:lnTo>
                    <a:pt x="75" y="362"/>
                  </a:lnTo>
                  <a:lnTo>
                    <a:pt x="0" y="362"/>
                  </a:lnTo>
                  <a:lnTo>
                    <a:pt x="0" y="198"/>
                  </a:lnTo>
                  <a:lnTo>
                    <a:pt x="75" y="198"/>
                  </a:lnTo>
                  <a:lnTo>
                    <a:pt x="75" y="35"/>
                  </a:lnTo>
                  <a:lnTo>
                    <a:pt x="290" y="0"/>
                  </a:lnTo>
                  <a:lnTo>
                    <a:pt x="290" y="198"/>
                  </a:lnTo>
                  <a:lnTo>
                    <a:pt x="426" y="198"/>
                  </a:lnTo>
                  <a:lnTo>
                    <a:pt x="426" y="362"/>
                  </a:lnTo>
                  <a:lnTo>
                    <a:pt x="290" y="362"/>
                  </a:lnTo>
                  <a:lnTo>
                    <a:pt x="290" y="608"/>
                  </a:lnTo>
                  <a:lnTo>
                    <a:pt x="290" y="608"/>
                  </a:lnTo>
                  <a:lnTo>
                    <a:pt x="290" y="622"/>
                  </a:lnTo>
                  <a:lnTo>
                    <a:pt x="293" y="635"/>
                  </a:lnTo>
                  <a:lnTo>
                    <a:pt x="298" y="645"/>
                  </a:lnTo>
                  <a:lnTo>
                    <a:pt x="304" y="653"/>
                  </a:lnTo>
                  <a:lnTo>
                    <a:pt x="312" y="660"/>
                  </a:lnTo>
                  <a:lnTo>
                    <a:pt x="322" y="666"/>
                  </a:lnTo>
                  <a:lnTo>
                    <a:pt x="333" y="669"/>
                  </a:lnTo>
                  <a:lnTo>
                    <a:pt x="347" y="6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a:extLst>
                <a:ext uri="{FF2B5EF4-FFF2-40B4-BE49-F238E27FC236}">
                  <a16:creationId xmlns:a16="http://schemas.microsoft.com/office/drawing/2014/main" id="{AE1E852C-260F-4ED4-8023-88AA872999FC}"/>
                </a:ext>
              </a:extLst>
            </p:cNvPr>
            <p:cNvSpPr>
              <a:spLocks noEditPoints="1"/>
            </p:cNvSpPr>
            <p:nvPr/>
          </p:nvSpPr>
          <p:spPr bwMode="auto">
            <a:xfrm>
              <a:off x="4550" y="1731"/>
              <a:ext cx="297" cy="327"/>
            </a:xfrm>
            <a:custGeom>
              <a:avLst/>
              <a:gdLst>
                <a:gd name="T0" fmla="*/ 499 w 596"/>
                <a:gd name="T1" fmla="*/ 58 h 655"/>
                <a:gd name="T2" fmla="*/ 428 w 596"/>
                <a:gd name="T3" fmla="*/ 20 h 655"/>
                <a:gd name="T4" fmla="*/ 338 w 596"/>
                <a:gd name="T5" fmla="*/ 2 h 655"/>
                <a:gd name="T6" fmla="*/ 268 w 596"/>
                <a:gd name="T7" fmla="*/ 2 h 655"/>
                <a:gd name="T8" fmla="*/ 174 w 596"/>
                <a:gd name="T9" fmla="*/ 23 h 655"/>
                <a:gd name="T10" fmla="*/ 122 w 596"/>
                <a:gd name="T11" fmla="*/ 50 h 655"/>
                <a:gd name="T12" fmla="*/ 88 w 596"/>
                <a:gd name="T13" fmla="*/ 76 h 655"/>
                <a:gd name="T14" fmla="*/ 69 w 596"/>
                <a:gd name="T15" fmla="*/ 97 h 655"/>
                <a:gd name="T16" fmla="*/ 31 w 596"/>
                <a:gd name="T17" fmla="*/ 162 h 655"/>
                <a:gd name="T18" fmla="*/ 4 w 596"/>
                <a:gd name="T19" fmla="*/ 257 h 655"/>
                <a:gd name="T20" fmla="*/ 0 w 596"/>
                <a:gd name="T21" fmla="*/ 333 h 655"/>
                <a:gd name="T22" fmla="*/ 11 w 596"/>
                <a:gd name="T23" fmla="*/ 439 h 655"/>
                <a:gd name="T24" fmla="*/ 39 w 596"/>
                <a:gd name="T25" fmla="*/ 512 h 655"/>
                <a:gd name="T26" fmla="*/ 65 w 596"/>
                <a:gd name="T27" fmla="*/ 550 h 655"/>
                <a:gd name="T28" fmla="*/ 84 w 596"/>
                <a:gd name="T29" fmla="*/ 572 h 655"/>
                <a:gd name="T30" fmla="*/ 119 w 596"/>
                <a:gd name="T31" fmla="*/ 600 h 655"/>
                <a:gd name="T32" fmla="*/ 188 w 596"/>
                <a:gd name="T33" fmla="*/ 634 h 655"/>
                <a:gd name="T34" fmla="*/ 287 w 596"/>
                <a:gd name="T35" fmla="*/ 654 h 655"/>
                <a:gd name="T36" fmla="*/ 360 w 596"/>
                <a:gd name="T37" fmla="*/ 655 h 655"/>
                <a:gd name="T38" fmla="*/ 451 w 596"/>
                <a:gd name="T39" fmla="*/ 645 h 655"/>
                <a:gd name="T40" fmla="*/ 503 w 596"/>
                <a:gd name="T41" fmla="*/ 631 h 655"/>
                <a:gd name="T42" fmla="*/ 522 w 596"/>
                <a:gd name="T43" fmla="*/ 467 h 655"/>
                <a:gd name="T44" fmla="*/ 453 w 596"/>
                <a:gd name="T45" fmla="*/ 490 h 655"/>
                <a:gd name="T46" fmla="*/ 404 w 596"/>
                <a:gd name="T47" fmla="*/ 498 h 655"/>
                <a:gd name="T48" fmla="*/ 351 w 596"/>
                <a:gd name="T49" fmla="*/ 501 h 655"/>
                <a:gd name="T50" fmla="*/ 307 w 596"/>
                <a:gd name="T51" fmla="*/ 497 h 655"/>
                <a:gd name="T52" fmla="*/ 272 w 596"/>
                <a:gd name="T53" fmla="*/ 484 h 655"/>
                <a:gd name="T54" fmla="*/ 252 w 596"/>
                <a:gd name="T55" fmla="*/ 470 h 655"/>
                <a:gd name="T56" fmla="*/ 230 w 596"/>
                <a:gd name="T57" fmla="*/ 445 h 655"/>
                <a:gd name="T58" fmla="*/ 217 w 596"/>
                <a:gd name="T59" fmla="*/ 413 h 655"/>
                <a:gd name="T60" fmla="*/ 596 w 596"/>
                <a:gd name="T61" fmla="*/ 387 h 655"/>
                <a:gd name="T62" fmla="*/ 594 w 596"/>
                <a:gd name="T63" fmla="*/ 256 h 655"/>
                <a:gd name="T64" fmla="*/ 576 w 596"/>
                <a:gd name="T65" fmla="*/ 166 h 655"/>
                <a:gd name="T66" fmla="*/ 537 w 596"/>
                <a:gd name="T67" fmla="*/ 96 h 655"/>
                <a:gd name="T68" fmla="*/ 219 w 596"/>
                <a:gd name="T69" fmla="*/ 250 h 655"/>
                <a:gd name="T70" fmla="*/ 229 w 596"/>
                <a:gd name="T71" fmla="*/ 205 h 655"/>
                <a:gd name="T72" fmla="*/ 243 w 596"/>
                <a:gd name="T73" fmla="*/ 180 h 655"/>
                <a:gd name="T74" fmla="*/ 262 w 596"/>
                <a:gd name="T75" fmla="*/ 163 h 655"/>
                <a:gd name="T76" fmla="*/ 293 w 596"/>
                <a:gd name="T77" fmla="*/ 150 h 655"/>
                <a:gd name="T78" fmla="*/ 321 w 596"/>
                <a:gd name="T79" fmla="*/ 150 h 655"/>
                <a:gd name="T80" fmla="*/ 349 w 596"/>
                <a:gd name="T81" fmla="*/ 156 h 655"/>
                <a:gd name="T82" fmla="*/ 370 w 596"/>
                <a:gd name="T83" fmla="*/ 170 h 655"/>
                <a:gd name="T84" fmla="*/ 383 w 596"/>
                <a:gd name="T85" fmla="*/ 184 h 655"/>
                <a:gd name="T86" fmla="*/ 395 w 596"/>
                <a:gd name="T87" fmla="*/ 209 h 655"/>
                <a:gd name="T88" fmla="*/ 402 w 596"/>
                <a:gd name="T89" fmla="*/ 25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6" h="655">
                  <a:moveTo>
                    <a:pt x="520" y="76"/>
                  </a:moveTo>
                  <a:lnTo>
                    <a:pt x="520" y="76"/>
                  </a:lnTo>
                  <a:lnTo>
                    <a:pt x="499" y="58"/>
                  </a:lnTo>
                  <a:lnTo>
                    <a:pt x="478" y="43"/>
                  </a:lnTo>
                  <a:lnTo>
                    <a:pt x="454" y="30"/>
                  </a:lnTo>
                  <a:lnTo>
                    <a:pt x="428" y="20"/>
                  </a:lnTo>
                  <a:lnTo>
                    <a:pt x="400" y="12"/>
                  </a:lnTo>
                  <a:lnTo>
                    <a:pt x="370" y="6"/>
                  </a:lnTo>
                  <a:lnTo>
                    <a:pt x="338" y="2"/>
                  </a:lnTo>
                  <a:lnTo>
                    <a:pt x="304" y="0"/>
                  </a:lnTo>
                  <a:lnTo>
                    <a:pt x="304" y="0"/>
                  </a:lnTo>
                  <a:lnTo>
                    <a:pt x="268" y="2"/>
                  </a:lnTo>
                  <a:lnTo>
                    <a:pt x="236" y="6"/>
                  </a:lnTo>
                  <a:lnTo>
                    <a:pt x="203" y="13"/>
                  </a:lnTo>
                  <a:lnTo>
                    <a:pt x="174" y="23"/>
                  </a:lnTo>
                  <a:lnTo>
                    <a:pt x="147" y="34"/>
                  </a:lnTo>
                  <a:lnTo>
                    <a:pt x="135" y="41"/>
                  </a:lnTo>
                  <a:lnTo>
                    <a:pt x="122" y="50"/>
                  </a:lnTo>
                  <a:lnTo>
                    <a:pt x="111" y="58"/>
                  </a:lnTo>
                  <a:lnTo>
                    <a:pt x="100" y="66"/>
                  </a:lnTo>
                  <a:lnTo>
                    <a:pt x="88" y="76"/>
                  </a:lnTo>
                  <a:lnTo>
                    <a:pt x="79" y="87"/>
                  </a:lnTo>
                  <a:lnTo>
                    <a:pt x="79" y="87"/>
                  </a:lnTo>
                  <a:lnTo>
                    <a:pt x="69" y="97"/>
                  </a:lnTo>
                  <a:lnTo>
                    <a:pt x="60" y="110"/>
                  </a:lnTo>
                  <a:lnTo>
                    <a:pt x="44" y="134"/>
                  </a:lnTo>
                  <a:lnTo>
                    <a:pt x="31" y="162"/>
                  </a:lnTo>
                  <a:lnTo>
                    <a:pt x="20" y="191"/>
                  </a:lnTo>
                  <a:lnTo>
                    <a:pt x="10" y="223"/>
                  </a:lnTo>
                  <a:lnTo>
                    <a:pt x="4" y="257"/>
                  </a:lnTo>
                  <a:lnTo>
                    <a:pt x="0" y="293"/>
                  </a:lnTo>
                  <a:lnTo>
                    <a:pt x="0" y="333"/>
                  </a:lnTo>
                  <a:lnTo>
                    <a:pt x="0" y="333"/>
                  </a:lnTo>
                  <a:lnTo>
                    <a:pt x="2" y="371"/>
                  </a:lnTo>
                  <a:lnTo>
                    <a:pt x="4" y="406"/>
                  </a:lnTo>
                  <a:lnTo>
                    <a:pt x="11" y="439"/>
                  </a:lnTo>
                  <a:lnTo>
                    <a:pt x="21" y="470"/>
                  </a:lnTo>
                  <a:lnTo>
                    <a:pt x="32" y="498"/>
                  </a:lnTo>
                  <a:lnTo>
                    <a:pt x="39" y="512"/>
                  </a:lnTo>
                  <a:lnTo>
                    <a:pt x="48" y="525"/>
                  </a:lnTo>
                  <a:lnTo>
                    <a:pt x="56" y="537"/>
                  </a:lnTo>
                  <a:lnTo>
                    <a:pt x="65" y="550"/>
                  </a:lnTo>
                  <a:lnTo>
                    <a:pt x="74" y="561"/>
                  </a:lnTo>
                  <a:lnTo>
                    <a:pt x="84" y="572"/>
                  </a:lnTo>
                  <a:lnTo>
                    <a:pt x="84" y="572"/>
                  </a:lnTo>
                  <a:lnTo>
                    <a:pt x="95" y="582"/>
                  </a:lnTo>
                  <a:lnTo>
                    <a:pt x="107" y="592"/>
                  </a:lnTo>
                  <a:lnTo>
                    <a:pt x="119" y="600"/>
                  </a:lnTo>
                  <a:lnTo>
                    <a:pt x="132" y="609"/>
                  </a:lnTo>
                  <a:lnTo>
                    <a:pt x="159" y="623"/>
                  </a:lnTo>
                  <a:lnTo>
                    <a:pt x="188" y="634"/>
                  </a:lnTo>
                  <a:lnTo>
                    <a:pt x="219" y="644"/>
                  </a:lnTo>
                  <a:lnTo>
                    <a:pt x="251" y="651"/>
                  </a:lnTo>
                  <a:lnTo>
                    <a:pt x="287" y="654"/>
                  </a:lnTo>
                  <a:lnTo>
                    <a:pt x="324" y="655"/>
                  </a:lnTo>
                  <a:lnTo>
                    <a:pt x="324" y="655"/>
                  </a:lnTo>
                  <a:lnTo>
                    <a:pt x="360" y="655"/>
                  </a:lnTo>
                  <a:lnTo>
                    <a:pt x="393" y="654"/>
                  </a:lnTo>
                  <a:lnTo>
                    <a:pt x="423" y="649"/>
                  </a:lnTo>
                  <a:lnTo>
                    <a:pt x="451" y="645"/>
                  </a:lnTo>
                  <a:lnTo>
                    <a:pt x="451" y="645"/>
                  </a:lnTo>
                  <a:lnTo>
                    <a:pt x="478" y="640"/>
                  </a:lnTo>
                  <a:lnTo>
                    <a:pt x="503" y="631"/>
                  </a:lnTo>
                  <a:lnTo>
                    <a:pt x="530" y="621"/>
                  </a:lnTo>
                  <a:lnTo>
                    <a:pt x="555" y="610"/>
                  </a:lnTo>
                  <a:lnTo>
                    <a:pt x="522" y="467"/>
                  </a:lnTo>
                  <a:lnTo>
                    <a:pt x="522"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2" y="470"/>
                  </a:lnTo>
                  <a:lnTo>
                    <a:pt x="252" y="470"/>
                  </a:lnTo>
                  <a:lnTo>
                    <a:pt x="244" y="463"/>
                  </a:lnTo>
                  <a:lnTo>
                    <a:pt x="237" y="455"/>
                  </a:lnTo>
                  <a:lnTo>
                    <a:pt x="230" y="445"/>
                  </a:lnTo>
                  <a:lnTo>
                    <a:pt x="226" y="435"/>
                  </a:lnTo>
                  <a:lnTo>
                    <a:pt x="222" y="424"/>
                  </a:lnTo>
                  <a:lnTo>
                    <a:pt x="217" y="413"/>
                  </a:lnTo>
                  <a:lnTo>
                    <a:pt x="216" y="400"/>
                  </a:lnTo>
                  <a:lnTo>
                    <a:pt x="215" y="387"/>
                  </a:lnTo>
                  <a:lnTo>
                    <a:pt x="596" y="387"/>
                  </a:lnTo>
                  <a:lnTo>
                    <a:pt x="596" y="291"/>
                  </a:lnTo>
                  <a:lnTo>
                    <a:pt x="596" y="291"/>
                  </a:lnTo>
                  <a:lnTo>
                    <a:pt x="594" y="256"/>
                  </a:lnTo>
                  <a:lnTo>
                    <a:pt x="590" y="225"/>
                  </a:lnTo>
                  <a:lnTo>
                    <a:pt x="585" y="194"/>
                  </a:lnTo>
                  <a:lnTo>
                    <a:pt x="576" y="166"/>
                  </a:lnTo>
                  <a:lnTo>
                    <a:pt x="566" y="141"/>
                  </a:lnTo>
                  <a:lnTo>
                    <a:pt x="552" y="117"/>
                  </a:lnTo>
                  <a:lnTo>
                    <a:pt x="537" y="96"/>
                  </a:lnTo>
                  <a:lnTo>
                    <a:pt x="520" y="76"/>
                  </a:lnTo>
                  <a:close/>
                  <a:moveTo>
                    <a:pt x="219" y="250"/>
                  </a:moveTo>
                  <a:lnTo>
                    <a:pt x="219" y="250"/>
                  </a:lnTo>
                  <a:lnTo>
                    <a:pt x="223" y="226"/>
                  </a:lnTo>
                  <a:lnTo>
                    <a:pt x="226" y="215"/>
                  </a:lnTo>
                  <a:lnTo>
                    <a:pt x="229" y="205"/>
                  </a:lnTo>
                  <a:lnTo>
                    <a:pt x="233" y="195"/>
                  </a:lnTo>
                  <a:lnTo>
                    <a:pt x="237" y="188"/>
                  </a:lnTo>
                  <a:lnTo>
                    <a:pt x="243" y="180"/>
                  </a:lnTo>
                  <a:lnTo>
                    <a:pt x="248" y="174"/>
                  </a:lnTo>
                  <a:lnTo>
                    <a:pt x="248" y="174"/>
                  </a:lnTo>
                  <a:lnTo>
                    <a:pt x="262" y="163"/>
                  </a:lnTo>
                  <a:lnTo>
                    <a:pt x="269" y="159"/>
                  </a:lnTo>
                  <a:lnTo>
                    <a:pt x="278" y="156"/>
                  </a:lnTo>
                  <a:lnTo>
                    <a:pt x="293" y="150"/>
                  </a:lnTo>
                  <a:lnTo>
                    <a:pt x="311" y="149"/>
                  </a:lnTo>
                  <a:lnTo>
                    <a:pt x="311" y="149"/>
                  </a:lnTo>
                  <a:lnTo>
                    <a:pt x="321" y="150"/>
                  </a:lnTo>
                  <a:lnTo>
                    <a:pt x="331" y="152"/>
                  </a:lnTo>
                  <a:lnTo>
                    <a:pt x="341" y="153"/>
                  </a:lnTo>
                  <a:lnTo>
                    <a:pt x="349" y="156"/>
                  </a:lnTo>
                  <a:lnTo>
                    <a:pt x="356" y="160"/>
                  </a:lnTo>
                  <a:lnTo>
                    <a:pt x="363" y="164"/>
                  </a:lnTo>
                  <a:lnTo>
                    <a:pt x="370" y="170"/>
                  </a:lnTo>
                  <a:lnTo>
                    <a:pt x="377" y="177"/>
                  </a:lnTo>
                  <a:lnTo>
                    <a:pt x="377" y="177"/>
                  </a:lnTo>
                  <a:lnTo>
                    <a:pt x="383" y="184"/>
                  </a:lnTo>
                  <a:lnTo>
                    <a:pt x="387" y="191"/>
                  </a:lnTo>
                  <a:lnTo>
                    <a:pt x="391" y="199"/>
                  </a:lnTo>
                  <a:lnTo>
                    <a:pt x="395" y="209"/>
                  </a:lnTo>
                  <a:lnTo>
                    <a:pt x="398" y="218"/>
                  </a:lnTo>
                  <a:lnTo>
                    <a:pt x="400" y="229"/>
                  </a:lnTo>
                  <a:lnTo>
                    <a:pt x="402" y="250"/>
                  </a:lnTo>
                  <a:lnTo>
                    <a:pt x="219" y="2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a:extLst>
                <a:ext uri="{FF2B5EF4-FFF2-40B4-BE49-F238E27FC236}">
                  <a16:creationId xmlns:a16="http://schemas.microsoft.com/office/drawing/2014/main" id="{414D20BC-CDBF-450B-88D5-C8B1FB231A64}"/>
                </a:ext>
              </a:extLst>
            </p:cNvPr>
            <p:cNvSpPr>
              <a:spLocks/>
            </p:cNvSpPr>
            <p:nvPr/>
          </p:nvSpPr>
          <p:spPr bwMode="auto">
            <a:xfrm>
              <a:off x="4550" y="1731"/>
              <a:ext cx="297" cy="327"/>
            </a:xfrm>
            <a:custGeom>
              <a:avLst/>
              <a:gdLst>
                <a:gd name="T0" fmla="*/ 520 w 596"/>
                <a:gd name="T1" fmla="*/ 76 h 655"/>
                <a:gd name="T2" fmla="*/ 478 w 596"/>
                <a:gd name="T3" fmla="*/ 43 h 655"/>
                <a:gd name="T4" fmla="*/ 428 w 596"/>
                <a:gd name="T5" fmla="*/ 20 h 655"/>
                <a:gd name="T6" fmla="*/ 370 w 596"/>
                <a:gd name="T7" fmla="*/ 6 h 655"/>
                <a:gd name="T8" fmla="*/ 304 w 596"/>
                <a:gd name="T9" fmla="*/ 0 h 655"/>
                <a:gd name="T10" fmla="*/ 268 w 596"/>
                <a:gd name="T11" fmla="*/ 2 h 655"/>
                <a:gd name="T12" fmla="*/ 203 w 596"/>
                <a:gd name="T13" fmla="*/ 13 h 655"/>
                <a:gd name="T14" fmla="*/ 147 w 596"/>
                <a:gd name="T15" fmla="*/ 34 h 655"/>
                <a:gd name="T16" fmla="*/ 122 w 596"/>
                <a:gd name="T17" fmla="*/ 50 h 655"/>
                <a:gd name="T18" fmla="*/ 100 w 596"/>
                <a:gd name="T19" fmla="*/ 66 h 655"/>
                <a:gd name="T20" fmla="*/ 79 w 596"/>
                <a:gd name="T21" fmla="*/ 87 h 655"/>
                <a:gd name="T22" fmla="*/ 69 w 596"/>
                <a:gd name="T23" fmla="*/ 97 h 655"/>
                <a:gd name="T24" fmla="*/ 44 w 596"/>
                <a:gd name="T25" fmla="*/ 134 h 655"/>
                <a:gd name="T26" fmla="*/ 20 w 596"/>
                <a:gd name="T27" fmla="*/ 191 h 655"/>
                <a:gd name="T28" fmla="*/ 4 w 596"/>
                <a:gd name="T29" fmla="*/ 257 h 655"/>
                <a:gd name="T30" fmla="*/ 0 w 596"/>
                <a:gd name="T31" fmla="*/ 333 h 655"/>
                <a:gd name="T32" fmla="*/ 2 w 596"/>
                <a:gd name="T33" fmla="*/ 371 h 655"/>
                <a:gd name="T34" fmla="*/ 11 w 596"/>
                <a:gd name="T35" fmla="*/ 439 h 655"/>
                <a:gd name="T36" fmla="*/ 32 w 596"/>
                <a:gd name="T37" fmla="*/ 498 h 655"/>
                <a:gd name="T38" fmla="*/ 48 w 596"/>
                <a:gd name="T39" fmla="*/ 525 h 655"/>
                <a:gd name="T40" fmla="*/ 65 w 596"/>
                <a:gd name="T41" fmla="*/ 550 h 655"/>
                <a:gd name="T42" fmla="*/ 84 w 596"/>
                <a:gd name="T43" fmla="*/ 572 h 655"/>
                <a:gd name="T44" fmla="*/ 95 w 596"/>
                <a:gd name="T45" fmla="*/ 582 h 655"/>
                <a:gd name="T46" fmla="*/ 119 w 596"/>
                <a:gd name="T47" fmla="*/ 600 h 655"/>
                <a:gd name="T48" fmla="*/ 159 w 596"/>
                <a:gd name="T49" fmla="*/ 623 h 655"/>
                <a:gd name="T50" fmla="*/ 219 w 596"/>
                <a:gd name="T51" fmla="*/ 644 h 655"/>
                <a:gd name="T52" fmla="*/ 287 w 596"/>
                <a:gd name="T53" fmla="*/ 654 h 655"/>
                <a:gd name="T54" fmla="*/ 324 w 596"/>
                <a:gd name="T55" fmla="*/ 655 h 655"/>
                <a:gd name="T56" fmla="*/ 393 w 596"/>
                <a:gd name="T57" fmla="*/ 654 h 655"/>
                <a:gd name="T58" fmla="*/ 451 w 596"/>
                <a:gd name="T59" fmla="*/ 645 h 655"/>
                <a:gd name="T60" fmla="*/ 478 w 596"/>
                <a:gd name="T61" fmla="*/ 640 h 655"/>
                <a:gd name="T62" fmla="*/ 530 w 596"/>
                <a:gd name="T63" fmla="*/ 621 h 655"/>
                <a:gd name="T64" fmla="*/ 522 w 596"/>
                <a:gd name="T65" fmla="*/ 467 h 655"/>
                <a:gd name="T66" fmla="*/ 487 w 596"/>
                <a:gd name="T67" fmla="*/ 480 h 655"/>
                <a:gd name="T68" fmla="*/ 453 w 596"/>
                <a:gd name="T69" fmla="*/ 490 h 655"/>
                <a:gd name="T70" fmla="*/ 404 w 596"/>
                <a:gd name="T71" fmla="*/ 498 h 655"/>
                <a:gd name="T72" fmla="*/ 351 w 596"/>
                <a:gd name="T73" fmla="*/ 501 h 655"/>
                <a:gd name="T74" fmla="*/ 335 w 596"/>
                <a:gd name="T75" fmla="*/ 499 h 655"/>
                <a:gd name="T76" fmla="*/ 307 w 596"/>
                <a:gd name="T77" fmla="*/ 497 h 655"/>
                <a:gd name="T78" fmla="*/ 283 w 596"/>
                <a:gd name="T79" fmla="*/ 488 h 655"/>
                <a:gd name="T80" fmla="*/ 262 w 596"/>
                <a:gd name="T81" fmla="*/ 477 h 655"/>
                <a:gd name="T82" fmla="*/ 252 w 596"/>
                <a:gd name="T83" fmla="*/ 470 h 655"/>
                <a:gd name="T84" fmla="*/ 237 w 596"/>
                <a:gd name="T85" fmla="*/ 455 h 655"/>
                <a:gd name="T86" fmla="*/ 226 w 596"/>
                <a:gd name="T87" fmla="*/ 435 h 655"/>
                <a:gd name="T88" fmla="*/ 217 w 596"/>
                <a:gd name="T89" fmla="*/ 413 h 655"/>
                <a:gd name="T90" fmla="*/ 215 w 596"/>
                <a:gd name="T91" fmla="*/ 387 h 655"/>
                <a:gd name="T92" fmla="*/ 596 w 596"/>
                <a:gd name="T93" fmla="*/ 291 h 655"/>
                <a:gd name="T94" fmla="*/ 594 w 596"/>
                <a:gd name="T95" fmla="*/ 256 h 655"/>
                <a:gd name="T96" fmla="*/ 585 w 596"/>
                <a:gd name="T97" fmla="*/ 194 h 655"/>
                <a:gd name="T98" fmla="*/ 566 w 596"/>
                <a:gd name="T99" fmla="*/ 141 h 655"/>
                <a:gd name="T100" fmla="*/ 537 w 596"/>
                <a:gd name="T101" fmla="*/ 9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655">
                  <a:moveTo>
                    <a:pt x="520" y="76"/>
                  </a:moveTo>
                  <a:lnTo>
                    <a:pt x="520" y="76"/>
                  </a:lnTo>
                  <a:lnTo>
                    <a:pt x="499" y="58"/>
                  </a:lnTo>
                  <a:lnTo>
                    <a:pt x="478" y="43"/>
                  </a:lnTo>
                  <a:lnTo>
                    <a:pt x="454" y="30"/>
                  </a:lnTo>
                  <a:lnTo>
                    <a:pt x="428" y="20"/>
                  </a:lnTo>
                  <a:lnTo>
                    <a:pt x="400" y="12"/>
                  </a:lnTo>
                  <a:lnTo>
                    <a:pt x="370" y="6"/>
                  </a:lnTo>
                  <a:lnTo>
                    <a:pt x="338" y="2"/>
                  </a:lnTo>
                  <a:lnTo>
                    <a:pt x="304" y="0"/>
                  </a:lnTo>
                  <a:lnTo>
                    <a:pt x="304" y="0"/>
                  </a:lnTo>
                  <a:lnTo>
                    <a:pt x="268" y="2"/>
                  </a:lnTo>
                  <a:lnTo>
                    <a:pt x="236" y="6"/>
                  </a:lnTo>
                  <a:lnTo>
                    <a:pt x="203" y="13"/>
                  </a:lnTo>
                  <a:lnTo>
                    <a:pt x="174" y="23"/>
                  </a:lnTo>
                  <a:lnTo>
                    <a:pt x="147" y="34"/>
                  </a:lnTo>
                  <a:lnTo>
                    <a:pt x="135" y="41"/>
                  </a:lnTo>
                  <a:lnTo>
                    <a:pt x="122" y="50"/>
                  </a:lnTo>
                  <a:lnTo>
                    <a:pt x="111" y="58"/>
                  </a:lnTo>
                  <a:lnTo>
                    <a:pt x="100" y="66"/>
                  </a:lnTo>
                  <a:lnTo>
                    <a:pt x="88" y="76"/>
                  </a:lnTo>
                  <a:lnTo>
                    <a:pt x="79" y="87"/>
                  </a:lnTo>
                  <a:lnTo>
                    <a:pt x="79" y="87"/>
                  </a:lnTo>
                  <a:lnTo>
                    <a:pt x="69" y="97"/>
                  </a:lnTo>
                  <a:lnTo>
                    <a:pt x="60" y="110"/>
                  </a:lnTo>
                  <a:lnTo>
                    <a:pt x="44" y="134"/>
                  </a:lnTo>
                  <a:lnTo>
                    <a:pt x="31" y="162"/>
                  </a:lnTo>
                  <a:lnTo>
                    <a:pt x="20" y="191"/>
                  </a:lnTo>
                  <a:lnTo>
                    <a:pt x="10" y="223"/>
                  </a:lnTo>
                  <a:lnTo>
                    <a:pt x="4" y="257"/>
                  </a:lnTo>
                  <a:lnTo>
                    <a:pt x="0" y="293"/>
                  </a:lnTo>
                  <a:lnTo>
                    <a:pt x="0" y="333"/>
                  </a:lnTo>
                  <a:lnTo>
                    <a:pt x="0" y="333"/>
                  </a:lnTo>
                  <a:lnTo>
                    <a:pt x="2" y="371"/>
                  </a:lnTo>
                  <a:lnTo>
                    <a:pt x="4" y="406"/>
                  </a:lnTo>
                  <a:lnTo>
                    <a:pt x="11" y="439"/>
                  </a:lnTo>
                  <a:lnTo>
                    <a:pt x="21" y="470"/>
                  </a:lnTo>
                  <a:lnTo>
                    <a:pt x="32" y="498"/>
                  </a:lnTo>
                  <a:lnTo>
                    <a:pt x="39" y="512"/>
                  </a:lnTo>
                  <a:lnTo>
                    <a:pt x="48" y="525"/>
                  </a:lnTo>
                  <a:lnTo>
                    <a:pt x="56" y="537"/>
                  </a:lnTo>
                  <a:lnTo>
                    <a:pt x="65" y="550"/>
                  </a:lnTo>
                  <a:lnTo>
                    <a:pt x="74" y="561"/>
                  </a:lnTo>
                  <a:lnTo>
                    <a:pt x="84" y="572"/>
                  </a:lnTo>
                  <a:lnTo>
                    <a:pt x="84" y="572"/>
                  </a:lnTo>
                  <a:lnTo>
                    <a:pt x="95" y="582"/>
                  </a:lnTo>
                  <a:lnTo>
                    <a:pt x="107" y="592"/>
                  </a:lnTo>
                  <a:lnTo>
                    <a:pt x="119" y="600"/>
                  </a:lnTo>
                  <a:lnTo>
                    <a:pt x="132" y="609"/>
                  </a:lnTo>
                  <a:lnTo>
                    <a:pt x="159" y="623"/>
                  </a:lnTo>
                  <a:lnTo>
                    <a:pt x="188" y="634"/>
                  </a:lnTo>
                  <a:lnTo>
                    <a:pt x="219" y="644"/>
                  </a:lnTo>
                  <a:lnTo>
                    <a:pt x="251" y="651"/>
                  </a:lnTo>
                  <a:lnTo>
                    <a:pt x="287" y="654"/>
                  </a:lnTo>
                  <a:lnTo>
                    <a:pt x="324" y="655"/>
                  </a:lnTo>
                  <a:lnTo>
                    <a:pt x="324" y="655"/>
                  </a:lnTo>
                  <a:lnTo>
                    <a:pt x="360" y="655"/>
                  </a:lnTo>
                  <a:lnTo>
                    <a:pt x="393" y="654"/>
                  </a:lnTo>
                  <a:lnTo>
                    <a:pt x="423" y="649"/>
                  </a:lnTo>
                  <a:lnTo>
                    <a:pt x="451" y="645"/>
                  </a:lnTo>
                  <a:lnTo>
                    <a:pt x="451" y="645"/>
                  </a:lnTo>
                  <a:lnTo>
                    <a:pt x="478" y="640"/>
                  </a:lnTo>
                  <a:lnTo>
                    <a:pt x="503" y="631"/>
                  </a:lnTo>
                  <a:lnTo>
                    <a:pt x="530" y="621"/>
                  </a:lnTo>
                  <a:lnTo>
                    <a:pt x="555" y="610"/>
                  </a:lnTo>
                  <a:lnTo>
                    <a:pt x="522" y="467"/>
                  </a:lnTo>
                  <a:lnTo>
                    <a:pt x="522"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2" y="470"/>
                  </a:lnTo>
                  <a:lnTo>
                    <a:pt x="252" y="470"/>
                  </a:lnTo>
                  <a:lnTo>
                    <a:pt x="244" y="463"/>
                  </a:lnTo>
                  <a:lnTo>
                    <a:pt x="237" y="455"/>
                  </a:lnTo>
                  <a:lnTo>
                    <a:pt x="230" y="445"/>
                  </a:lnTo>
                  <a:lnTo>
                    <a:pt x="226" y="435"/>
                  </a:lnTo>
                  <a:lnTo>
                    <a:pt x="222" y="424"/>
                  </a:lnTo>
                  <a:lnTo>
                    <a:pt x="217" y="413"/>
                  </a:lnTo>
                  <a:lnTo>
                    <a:pt x="216" y="400"/>
                  </a:lnTo>
                  <a:lnTo>
                    <a:pt x="215" y="387"/>
                  </a:lnTo>
                  <a:lnTo>
                    <a:pt x="596" y="387"/>
                  </a:lnTo>
                  <a:lnTo>
                    <a:pt x="596" y="291"/>
                  </a:lnTo>
                  <a:lnTo>
                    <a:pt x="596" y="291"/>
                  </a:lnTo>
                  <a:lnTo>
                    <a:pt x="594" y="256"/>
                  </a:lnTo>
                  <a:lnTo>
                    <a:pt x="590" y="225"/>
                  </a:lnTo>
                  <a:lnTo>
                    <a:pt x="585" y="194"/>
                  </a:lnTo>
                  <a:lnTo>
                    <a:pt x="576" y="166"/>
                  </a:lnTo>
                  <a:lnTo>
                    <a:pt x="566" y="141"/>
                  </a:lnTo>
                  <a:lnTo>
                    <a:pt x="552" y="117"/>
                  </a:lnTo>
                  <a:lnTo>
                    <a:pt x="537" y="96"/>
                  </a:lnTo>
                  <a:lnTo>
                    <a:pt x="520" y="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2">
              <a:extLst>
                <a:ext uri="{FF2B5EF4-FFF2-40B4-BE49-F238E27FC236}">
                  <a16:creationId xmlns:a16="http://schemas.microsoft.com/office/drawing/2014/main" id="{91190B57-2AE3-46FB-BAA8-8311E3856048}"/>
                </a:ext>
              </a:extLst>
            </p:cNvPr>
            <p:cNvSpPr>
              <a:spLocks/>
            </p:cNvSpPr>
            <p:nvPr/>
          </p:nvSpPr>
          <p:spPr bwMode="auto">
            <a:xfrm>
              <a:off x="4659" y="1805"/>
              <a:ext cx="92" cy="50"/>
            </a:xfrm>
            <a:custGeom>
              <a:avLst/>
              <a:gdLst>
                <a:gd name="T0" fmla="*/ 0 w 183"/>
                <a:gd name="T1" fmla="*/ 101 h 101"/>
                <a:gd name="T2" fmla="*/ 0 w 183"/>
                <a:gd name="T3" fmla="*/ 101 h 101"/>
                <a:gd name="T4" fmla="*/ 4 w 183"/>
                <a:gd name="T5" fmla="*/ 77 h 101"/>
                <a:gd name="T6" fmla="*/ 7 w 183"/>
                <a:gd name="T7" fmla="*/ 66 h 101"/>
                <a:gd name="T8" fmla="*/ 10 w 183"/>
                <a:gd name="T9" fmla="*/ 56 h 101"/>
                <a:gd name="T10" fmla="*/ 14 w 183"/>
                <a:gd name="T11" fmla="*/ 46 h 101"/>
                <a:gd name="T12" fmla="*/ 18 w 183"/>
                <a:gd name="T13" fmla="*/ 39 h 101"/>
                <a:gd name="T14" fmla="*/ 24 w 183"/>
                <a:gd name="T15" fmla="*/ 31 h 101"/>
                <a:gd name="T16" fmla="*/ 29 w 183"/>
                <a:gd name="T17" fmla="*/ 25 h 101"/>
                <a:gd name="T18" fmla="*/ 29 w 183"/>
                <a:gd name="T19" fmla="*/ 25 h 101"/>
                <a:gd name="T20" fmla="*/ 43 w 183"/>
                <a:gd name="T21" fmla="*/ 14 h 101"/>
                <a:gd name="T22" fmla="*/ 50 w 183"/>
                <a:gd name="T23" fmla="*/ 10 h 101"/>
                <a:gd name="T24" fmla="*/ 59 w 183"/>
                <a:gd name="T25" fmla="*/ 7 h 101"/>
                <a:gd name="T26" fmla="*/ 74 w 183"/>
                <a:gd name="T27" fmla="*/ 1 h 101"/>
                <a:gd name="T28" fmla="*/ 92 w 183"/>
                <a:gd name="T29" fmla="*/ 0 h 101"/>
                <a:gd name="T30" fmla="*/ 92 w 183"/>
                <a:gd name="T31" fmla="*/ 0 h 101"/>
                <a:gd name="T32" fmla="*/ 102 w 183"/>
                <a:gd name="T33" fmla="*/ 1 h 101"/>
                <a:gd name="T34" fmla="*/ 112 w 183"/>
                <a:gd name="T35" fmla="*/ 3 h 101"/>
                <a:gd name="T36" fmla="*/ 122 w 183"/>
                <a:gd name="T37" fmla="*/ 4 h 101"/>
                <a:gd name="T38" fmla="*/ 130 w 183"/>
                <a:gd name="T39" fmla="*/ 7 h 101"/>
                <a:gd name="T40" fmla="*/ 137 w 183"/>
                <a:gd name="T41" fmla="*/ 11 h 101"/>
                <a:gd name="T42" fmla="*/ 144 w 183"/>
                <a:gd name="T43" fmla="*/ 15 h 101"/>
                <a:gd name="T44" fmla="*/ 151 w 183"/>
                <a:gd name="T45" fmla="*/ 21 h 101"/>
                <a:gd name="T46" fmla="*/ 158 w 183"/>
                <a:gd name="T47" fmla="*/ 28 h 101"/>
                <a:gd name="T48" fmla="*/ 158 w 183"/>
                <a:gd name="T49" fmla="*/ 28 h 101"/>
                <a:gd name="T50" fmla="*/ 164 w 183"/>
                <a:gd name="T51" fmla="*/ 35 h 101"/>
                <a:gd name="T52" fmla="*/ 168 w 183"/>
                <a:gd name="T53" fmla="*/ 42 h 101"/>
                <a:gd name="T54" fmla="*/ 172 w 183"/>
                <a:gd name="T55" fmla="*/ 50 h 101"/>
                <a:gd name="T56" fmla="*/ 176 w 183"/>
                <a:gd name="T57" fmla="*/ 60 h 101"/>
                <a:gd name="T58" fmla="*/ 179 w 183"/>
                <a:gd name="T59" fmla="*/ 69 h 101"/>
                <a:gd name="T60" fmla="*/ 181 w 183"/>
                <a:gd name="T61" fmla="*/ 80 h 101"/>
                <a:gd name="T62" fmla="*/ 183 w 183"/>
                <a:gd name="T63" fmla="*/ 101 h 101"/>
                <a:gd name="T64" fmla="*/ 0 w 183"/>
                <a:gd name="T6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3" h="101">
                  <a:moveTo>
                    <a:pt x="0" y="101"/>
                  </a:moveTo>
                  <a:lnTo>
                    <a:pt x="0" y="101"/>
                  </a:lnTo>
                  <a:lnTo>
                    <a:pt x="4" y="77"/>
                  </a:lnTo>
                  <a:lnTo>
                    <a:pt x="7" y="66"/>
                  </a:lnTo>
                  <a:lnTo>
                    <a:pt x="10" y="56"/>
                  </a:lnTo>
                  <a:lnTo>
                    <a:pt x="14" y="46"/>
                  </a:lnTo>
                  <a:lnTo>
                    <a:pt x="18" y="39"/>
                  </a:lnTo>
                  <a:lnTo>
                    <a:pt x="24" y="31"/>
                  </a:lnTo>
                  <a:lnTo>
                    <a:pt x="29" y="25"/>
                  </a:lnTo>
                  <a:lnTo>
                    <a:pt x="29" y="25"/>
                  </a:lnTo>
                  <a:lnTo>
                    <a:pt x="43" y="14"/>
                  </a:lnTo>
                  <a:lnTo>
                    <a:pt x="50" y="10"/>
                  </a:lnTo>
                  <a:lnTo>
                    <a:pt x="59" y="7"/>
                  </a:lnTo>
                  <a:lnTo>
                    <a:pt x="74" y="1"/>
                  </a:lnTo>
                  <a:lnTo>
                    <a:pt x="92" y="0"/>
                  </a:lnTo>
                  <a:lnTo>
                    <a:pt x="92" y="0"/>
                  </a:lnTo>
                  <a:lnTo>
                    <a:pt x="102" y="1"/>
                  </a:lnTo>
                  <a:lnTo>
                    <a:pt x="112" y="3"/>
                  </a:lnTo>
                  <a:lnTo>
                    <a:pt x="122" y="4"/>
                  </a:lnTo>
                  <a:lnTo>
                    <a:pt x="130" y="7"/>
                  </a:lnTo>
                  <a:lnTo>
                    <a:pt x="137" y="11"/>
                  </a:lnTo>
                  <a:lnTo>
                    <a:pt x="144" y="15"/>
                  </a:lnTo>
                  <a:lnTo>
                    <a:pt x="151" y="21"/>
                  </a:lnTo>
                  <a:lnTo>
                    <a:pt x="158" y="28"/>
                  </a:lnTo>
                  <a:lnTo>
                    <a:pt x="158" y="28"/>
                  </a:lnTo>
                  <a:lnTo>
                    <a:pt x="164" y="35"/>
                  </a:lnTo>
                  <a:lnTo>
                    <a:pt x="168" y="42"/>
                  </a:lnTo>
                  <a:lnTo>
                    <a:pt x="172" y="50"/>
                  </a:lnTo>
                  <a:lnTo>
                    <a:pt x="176" y="60"/>
                  </a:lnTo>
                  <a:lnTo>
                    <a:pt x="179" y="69"/>
                  </a:lnTo>
                  <a:lnTo>
                    <a:pt x="181" y="80"/>
                  </a:lnTo>
                  <a:lnTo>
                    <a:pt x="183" y="101"/>
                  </a:lnTo>
                  <a:lnTo>
                    <a:pt x="0" y="1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3">
              <a:extLst>
                <a:ext uri="{FF2B5EF4-FFF2-40B4-BE49-F238E27FC236}">
                  <a16:creationId xmlns:a16="http://schemas.microsoft.com/office/drawing/2014/main" id="{BBCDAD64-3FF0-480D-98AB-925521B191CC}"/>
                </a:ext>
              </a:extLst>
            </p:cNvPr>
            <p:cNvSpPr>
              <a:spLocks noEditPoints="1"/>
            </p:cNvSpPr>
            <p:nvPr/>
          </p:nvSpPr>
          <p:spPr bwMode="auto">
            <a:xfrm>
              <a:off x="3067" y="1731"/>
              <a:ext cx="297" cy="327"/>
            </a:xfrm>
            <a:custGeom>
              <a:avLst/>
              <a:gdLst>
                <a:gd name="T0" fmla="*/ 501 w 596"/>
                <a:gd name="T1" fmla="*/ 58 h 655"/>
                <a:gd name="T2" fmla="*/ 428 w 596"/>
                <a:gd name="T3" fmla="*/ 20 h 655"/>
                <a:gd name="T4" fmla="*/ 338 w 596"/>
                <a:gd name="T5" fmla="*/ 2 h 655"/>
                <a:gd name="T6" fmla="*/ 269 w 596"/>
                <a:gd name="T7" fmla="*/ 2 h 655"/>
                <a:gd name="T8" fmla="*/ 175 w 596"/>
                <a:gd name="T9" fmla="*/ 23 h 655"/>
                <a:gd name="T10" fmla="*/ 122 w 596"/>
                <a:gd name="T11" fmla="*/ 50 h 655"/>
                <a:gd name="T12" fmla="*/ 89 w 596"/>
                <a:gd name="T13" fmla="*/ 76 h 655"/>
                <a:gd name="T14" fmla="*/ 69 w 596"/>
                <a:gd name="T15" fmla="*/ 97 h 655"/>
                <a:gd name="T16" fmla="*/ 31 w 596"/>
                <a:gd name="T17" fmla="*/ 162 h 655"/>
                <a:gd name="T18" fmla="*/ 4 w 596"/>
                <a:gd name="T19" fmla="*/ 257 h 655"/>
                <a:gd name="T20" fmla="*/ 0 w 596"/>
                <a:gd name="T21" fmla="*/ 333 h 655"/>
                <a:gd name="T22" fmla="*/ 12 w 596"/>
                <a:gd name="T23" fmla="*/ 439 h 655"/>
                <a:gd name="T24" fmla="*/ 41 w 596"/>
                <a:gd name="T25" fmla="*/ 512 h 655"/>
                <a:gd name="T26" fmla="*/ 65 w 596"/>
                <a:gd name="T27" fmla="*/ 550 h 655"/>
                <a:gd name="T28" fmla="*/ 86 w 596"/>
                <a:gd name="T29" fmla="*/ 572 h 655"/>
                <a:gd name="T30" fmla="*/ 119 w 596"/>
                <a:gd name="T31" fmla="*/ 600 h 655"/>
                <a:gd name="T32" fmla="*/ 188 w 596"/>
                <a:gd name="T33" fmla="*/ 634 h 655"/>
                <a:gd name="T34" fmla="*/ 288 w 596"/>
                <a:gd name="T35" fmla="*/ 654 h 655"/>
                <a:gd name="T36" fmla="*/ 361 w 596"/>
                <a:gd name="T37" fmla="*/ 655 h 655"/>
                <a:gd name="T38" fmla="*/ 452 w 596"/>
                <a:gd name="T39" fmla="*/ 645 h 655"/>
                <a:gd name="T40" fmla="*/ 505 w 596"/>
                <a:gd name="T41" fmla="*/ 631 h 655"/>
                <a:gd name="T42" fmla="*/ 523 w 596"/>
                <a:gd name="T43" fmla="*/ 467 h 655"/>
                <a:gd name="T44" fmla="*/ 453 w 596"/>
                <a:gd name="T45" fmla="*/ 490 h 655"/>
                <a:gd name="T46" fmla="*/ 404 w 596"/>
                <a:gd name="T47" fmla="*/ 498 h 655"/>
                <a:gd name="T48" fmla="*/ 351 w 596"/>
                <a:gd name="T49" fmla="*/ 501 h 655"/>
                <a:gd name="T50" fmla="*/ 307 w 596"/>
                <a:gd name="T51" fmla="*/ 497 h 655"/>
                <a:gd name="T52" fmla="*/ 272 w 596"/>
                <a:gd name="T53" fmla="*/ 484 h 655"/>
                <a:gd name="T54" fmla="*/ 253 w 596"/>
                <a:gd name="T55" fmla="*/ 470 h 655"/>
                <a:gd name="T56" fmla="*/ 232 w 596"/>
                <a:gd name="T57" fmla="*/ 445 h 655"/>
                <a:gd name="T58" fmla="*/ 219 w 596"/>
                <a:gd name="T59" fmla="*/ 413 h 655"/>
                <a:gd name="T60" fmla="*/ 596 w 596"/>
                <a:gd name="T61" fmla="*/ 387 h 655"/>
                <a:gd name="T62" fmla="*/ 595 w 596"/>
                <a:gd name="T63" fmla="*/ 256 h 655"/>
                <a:gd name="T64" fmla="*/ 578 w 596"/>
                <a:gd name="T65" fmla="*/ 166 h 655"/>
                <a:gd name="T66" fmla="*/ 539 w 596"/>
                <a:gd name="T67" fmla="*/ 96 h 655"/>
                <a:gd name="T68" fmla="*/ 219 w 596"/>
                <a:gd name="T69" fmla="*/ 250 h 655"/>
                <a:gd name="T70" fmla="*/ 229 w 596"/>
                <a:gd name="T71" fmla="*/ 205 h 655"/>
                <a:gd name="T72" fmla="*/ 243 w 596"/>
                <a:gd name="T73" fmla="*/ 180 h 655"/>
                <a:gd name="T74" fmla="*/ 262 w 596"/>
                <a:gd name="T75" fmla="*/ 163 h 655"/>
                <a:gd name="T76" fmla="*/ 295 w 596"/>
                <a:gd name="T77" fmla="*/ 150 h 655"/>
                <a:gd name="T78" fmla="*/ 323 w 596"/>
                <a:gd name="T79" fmla="*/ 150 h 655"/>
                <a:gd name="T80" fmla="*/ 349 w 596"/>
                <a:gd name="T81" fmla="*/ 156 h 655"/>
                <a:gd name="T82" fmla="*/ 372 w 596"/>
                <a:gd name="T83" fmla="*/ 170 h 655"/>
                <a:gd name="T84" fmla="*/ 383 w 596"/>
                <a:gd name="T85" fmla="*/ 184 h 655"/>
                <a:gd name="T86" fmla="*/ 396 w 596"/>
                <a:gd name="T87" fmla="*/ 209 h 655"/>
                <a:gd name="T88" fmla="*/ 403 w 596"/>
                <a:gd name="T89" fmla="*/ 25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6" h="655">
                  <a:moveTo>
                    <a:pt x="520" y="76"/>
                  </a:moveTo>
                  <a:lnTo>
                    <a:pt x="520" y="76"/>
                  </a:lnTo>
                  <a:lnTo>
                    <a:pt x="501" y="58"/>
                  </a:lnTo>
                  <a:lnTo>
                    <a:pt x="478" y="43"/>
                  </a:lnTo>
                  <a:lnTo>
                    <a:pt x="454" y="30"/>
                  </a:lnTo>
                  <a:lnTo>
                    <a:pt x="428" y="20"/>
                  </a:lnTo>
                  <a:lnTo>
                    <a:pt x="400" y="12"/>
                  </a:lnTo>
                  <a:lnTo>
                    <a:pt x="370" y="6"/>
                  </a:lnTo>
                  <a:lnTo>
                    <a:pt x="338" y="2"/>
                  </a:lnTo>
                  <a:lnTo>
                    <a:pt x="304" y="0"/>
                  </a:lnTo>
                  <a:lnTo>
                    <a:pt x="304" y="0"/>
                  </a:lnTo>
                  <a:lnTo>
                    <a:pt x="269" y="2"/>
                  </a:lnTo>
                  <a:lnTo>
                    <a:pt x="236" y="6"/>
                  </a:lnTo>
                  <a:lnTo>
                    <a:pt x="204" y="13"/>
                  </a:lnTo>
                  <a:lnTo>
                    <a:pt x="175" y="23"/>
                  </a:lnTo>
                  <a:lnTo>
                    <a:pt x="147" y="34"/>
                  </a:lnTo>
                  <a:lnTo>
                    <a:pt x="135" y="41"/>
                  </a:lnTo>
                  <a:lnTo>
                    <a:pt x="122" y="50"/>
                  </a:lnTo>
                  <a:lnTo>
                    <a:pt x="111" y="58"/>
                  </a:lnTo>
                  <a:lnTo>
                    <a:pt x="100" y="66"/>
                  </a:lnTo>
                  <a:lnTo>
                    <a:pt x="89" y="76"/>
                  </a:lnTo>
                  <a:lnTo>
                    <a:pt x="79" y="87"/>
                  </a:lnTo>
                  <a:lnTo>
                    <a:pt x="79" y="87"/>
                  </a:lnTo>
                  <a:lnTo>
                    <a:pt x="69" y="97"/>
                  </a:lnTo>
                  <a:lnTo>
                    <a:pt x="61" y="110"/>
                  </a:lnTo>
                  <a:lnTo>
                    <a:pt x="45" y="134"/>
                  </a:lnTo>
                  <a:lnTo>
                    <a:pt x="31" y="162"/>
                  </a:lnTo>
                  <a:lnTo>
                    <a:pt x="20" y="191"/>
                  </a:lnTo>
                  <a:lnTo>
                    <a:pt x="12" y="223"/>
                  </a:lnTo>
                  <a:lnTo>
                    <a:pt x="4" y="257"/>
                  </a:lnTo>
                  <a:lnTo>
                    <a:pt x="2" y="293"/>
                  </a:lnTo>
                  <a:lnTo>
                    <a:pt x="0" y="333"/>
                  </a:lnTo>
                  <a:lnTo>
                    <a:pt x="0" y="333"/>
                  </a:lnTo>
                  <a:lnTo>
                    <a:pt x="2" y="371"/>
                  </a:lnTo>
                  <a:lnTo>
                    <a:pt x="6" y="406"/>
                  </a:lnTo>
                  <a:lnTo>
                    <a:pt x="12" y="439"/>
                  </a:lnTo>
                  <a:lnTo>
                    <a:pt x="21" y="470"/>
                  </a:lnTo>
                  <a:lnTo>
                    <a:pt x="34" y="498"/>
                  </a:lnTo>
                  <a:lnTo>
                    <a:pt x="41" y="512"/>
                  </a:lnTo>
                  <a:lnTo>
                    <a:pt x="48" y="525"/>
                  </a:lnTo>
                  <a:lnTo>
                    <a:pt x="56" y="537"/>
                  </a:lnTo>
                  <a:lnTo>
                    <a:pt x="65" y="550"/>
                  </a:lnTo>
                  <a:lnTo>
                    <a:pt x="75" y="561"/>
                  </a:lnTo>
                  <a:lnTo>
                    <a:pt x="86" y="572"/>
                  </a:lnTo>
                  <a:lnTo>
                    <a:pt x="86" y="572"/>
                  </a:lnTo>
                  <a:lnTo>
                    <a:pt x="96" y="582"/>
                  </a:lnTo>
                  <a:lnTo>
                    <a:pt x="108" y="592"/>
                  </a:lnTo>
                  <a:lnTo>
                    <a:pt x="119" y="600"/>
                  </a:lnTo>
                  <a:lnTo>
                    <a:pt x="132" y="609"/>
                  </a:lnTo>
                  <a:lnTo>
                    <a:pt x="159" y="623"/>
                  </a:lnTo>
                  <a:lnTo>
                    <a:pt x="188" y="634"/>
                  </a:lnTo>
                  <a:lnTo>
                    <a:pt x="219" y="644"/>
                  </a:lnTo>
                  <a:lnTo>
                    <a:pt x="253" y="651"/>
                  </a:lnTo>
                  <a:lnTo>
                    <a:pt x="288" y="654"/>
                  </a:lnTo>
                  <a:lnTo>
                    <a:pt x="325" y="655"/>
                  </a:lnTo>
                  <a:lnTo>
                    <a:pt x="325" y="655"/>
                  </a:lnTo>
                  <a:lnTo>
                    <a:pt x="361" y="655"/>
                  </a:lnTo>
                  <a:lnTo>
                    <a:pt x="394" y="654"/>
                  </a:lnTo>
                  <a:lnTo>
                    <a:pt x="425" y="649"/>
                  </a:lnTo>
                  <a:lnTo>
                    <a:pt x="452" y="645"/>
                  </a:lnTo>
                  <a:lnTo>
                    <a:pt x="452" y="645"/>
                  </a:lnTo>
                  <a:lnTo>
                    <a:pt x="478" y="640"/>
                  </a:lnTo>
                  <a:lnTo>
                    <a:pt x="505" y="631"/>
                  </a:lnTo>
                  <a:lnTo>
                    <a:pt x="530" y="621"/>
                  </a:lnTo>
                  <a:lnTo>
                    <a:pt x="555" y="610"/>
                  </a:lnTo>
                  <a:lnTo>
                    <a:pt x="523" y="467"/>
                  </a:lnTo>
                  <a:lnTo>
                    <a:pt x="523"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3" y="470"/>
                  </a:lnTo>
                  <a:lnTo>
                    <a:pt x="253" y="470"/>
                  </a:lnTo>
                  <a:lnTo>
                    <a:pt x="244" y="463"/>
                  </a:lnTo>
                  <a:lnTo>
                    <a:pt x="237" y="455"/>
                  </a:lnTo>
                  <a:lnTo>
                    <a:pt x="232" y="445"/>
                  </a:lnTo>
                  <a:lnTo>
                    <a:pt x="226" y="435"/>
                  </a:lnTo>
                  <a:lnTo>
                    <a:pt x="222" y="424"/>
                  </a:lnTo>
                  <a:lnTo>
                    <a:pt x="219" y="413"/>
                  </a:lnTo>
                  <a:lnTo>
                    <a:pt x="216" y="400"/>
                  </a:lnTo>
                  <a:lnTo>
                    <a:pt x="215" y="387"/>
                  </a:lnTo>
                  <a:lnTo>
                    <a:pt x="596" y="387"/>
                  </a:lnTo>
                  <a:lnTo>
                    <a:pt x="596" y="291"/>
                  </a:lnTo>
                  <a:lnTo>
                    <a:pt x="596" y="291"/>
                  </a:lnTo>
                  <a:lnTo>
                    <a:pt x="595" y="256"/>
                  </a:lnTo>
                  <a:lnTo>
                    <a:pt x="592" y="225"/>
                  </a:lnTo>
                  <a:lnTo>
                    <a:pt x="585" y="194"/>
                  </a:lnTo>
                  <a:lnTo>
                    <a:pt x="578" y="166"/>
                  </a:lnTo>
                  <a:lnTo>
                    <a:pt x="567" y="141"/>
                  </a:lnTo>
                  <a:lnTo>
                    <a:pt x="554" y="117"/>
                  </a:lnTo>
                  <a:lnTo>
                    <a:pt x="539" y="96"/>
                  </a:lnTo>
                  <a:lnTo>
                    <a:pt x="520" y="76"/>
                  </a:lnTo>
                  <a:close/>
                  <a:moveTo>
                    <a:pt x="219" y="250"/>
                  </a:moveTo>
                  <a:lnTo>
                    <a:pt x="219" y="250"/>
                  </a:lnTo>
                  <a:lnTo>
                    <a:pt x="223" y="226"/>
                  </a:lnTo>
                  <a:lnTo>
                    <a:pt x="226" y="215"/>
                  </a:lnTo>
                  <a:lnTo>
                    <a:pt x="229" y="205"/>
                  </a:lnTo>
                  <a:lnTo>
                    <a:pt x="233" y="195"/>
                  </a:lnTo>
                  <a:lnTo>
                    <a:pt x="239" y="188"/>
                  </a:lnTo>
                  <a:lnTo>
                    <a:pt x="243" y="180"/>
                  </a:lnTo>
                  <a:lnTo>
                    <a:pt x="250" y="174"/>
                  </a:lnTo>
                  <a:lnTo>
                    <a:pt x="250" y="174"/>
                  </a:lnTo>
                  <a:lnTo>
                    <a:pt x="262" y="163"/>
                  </a:lnTo>
                  <a:lnTo>
                    <a:pt x="269" y="159"/>
                  </a:lnTo>
                  <a:lnTo>
                    <a:pt x="278" y="156"/>
                  </a:lnTo>
                  <a:lnTo>
                    <a:pt x="295" y="150"/>
                  </a:lnTo>
                  <a:lnTo>
                    <a:pt x="313" y="149"/>
                  </a:lnTo>
                  <a:lnTo>
                    <a:pt x="313" y="149"/>
                  </a:lnTo>
                  <a:lnTo>
                    <a:pt x="323" y="150"/>
                  </a:lnTo>
                  <a:lnTo>
                    <a:pt x="331" y="152"/>
                  </a:lnTo>
                  <a:lnTo>
                    <a:pt x="341" y="153"/>
                  </a:lnTo>
                  <a:lnTo>
                    <a:pt x="349" y="156"/>
                  </a:lnTo>
                  <a:lnTo>
                    <a:pt x="356" y="160"/>
                  </a:lnTo>
                  <a:lnTo>
                    <a:pt x="365" y="164"/>
                  </a:lnTo>
                  <a:lnTo>
                    <a:pt x="372" y="170"/>
                  </a:lnTo>
                  <a:lnTo>
                    <a:pt x="377" y="177"/>
                  </a:lnTo>
                  <a:lnTo>
                    <a:pt x="377" y="177"/>
                  </a:lnTo>
                  <a:lnTo>
                    <a:pt x="383" y="184"/>
                  </a:lnTo>
                  <a:lnTo>
                    <a:pt x="389" y="191"/>
                  </a:lnTo>
                  <a:lnTo>
                    <a:pt x="393" y="199"/>
                  </a:lnTo>
                  <a:lnTo>
                    <a:pt x="396" y="209"/>
                  </a:lnTo>
                  <a:lnTo>
                    <a:pt x="398" y="218"/>
                  </a:lnTo>
                  <a:lnTo>
                    <a:pt x="401" y="229"/>
                  </a:lnTo>
                  <a:lnTo>
                    <a:pt x="403" y="250"/>
                  </a:lnTo>
                  <a:lnTo>
                    <a:pt x="219" y="2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4">
              <a:extLst>
                <a:ext uri="{FF2B5EF4-FFF2-40B4-BE49-F238E27FC236}">
                  <a16:creationId xmlns:a16="http://schemas.microsoft.com/office/drawing/2014/main" id="{38057653-D8CC-4844-B80F-308FAA354FB4}"/>
                </a:ext>
              </a:extLst>
            </p:cNvPr>
            <p:cNvSpPr>
              <a:spLocks/>
            </p:cNvSpPr>
            <p:nvPr/>
          </p:nvSpPr>
          <p:spPr bwMode="auto">
            <a:xfrm>
              <a:off x="3067" y="1731"/>
              <a:ext cx="297" cy="327"/>
            </a:xfrm>
            <a:custGeom>
              <a:avLst/>
              <a:gdLst>
                <a:gd name="T0" fmla="*/ 520 w 596"/>
                <a:gd name="T1" fmla="*/ 76 h 655"/>
                <a:gd name="T2" fmla="*/ 478 w 596"/>
                <a:gd name="T3" fmla="*/ 43 h 655"/>
                <a:gd name="T4" fmla="*/ 428 w 596"/>
                <a:gd name="T5" fmla="*/ 20 h 655"/>
                <a:gd name="T6" fmla="*/ 370 w 596"/>
                <a:gd name="T7" fmla="*/ 6 h 655"/>
                <a:gd name="T8" fmla="*/ 304 w 596"/>
                <a:gd name="T9" fmla="*/ 0 h 655"/>
                <a:gd name="T10" fmla="*/ 269 w 596"/>
                <a:gd name="T11" fmla="*/ 2 h 655"/>
                <a:gd name="T12" fmla="*/ 204 w 596"/>
                <a:gd name="T13" fmla="*/ 13 h 655"/>
                <a:gd name="T14" fmla="*/ 147 w 596"/>
                <a:gd name="T15" fmla="*/ 34 h 655"/>
                <a:gd name="T16" fmla="*/ 122 w 596"/>
                <a:gd name="T17" fmla="*/ 50 h 655"/>
                <a:gd name="T18" fmla="*/ 100 w 596"/>
                <a:gd name="T19" fmla="*/ 66 h 655"/>
                <a:gd name="T20" fmla="*/ 79 w 596"/>
                <a:gd name="T21" fmla="*/ 87 h 655"/>
                <a:gd name="T22" fmla="*/ 69 w 596"/>
                <a:gd name="T23" fmla="*/ 97 h 655"/>
                <a:gd name="T24" fmla="*/ 45 w 596"/>
                <a:gd name="T25" fmla="*/ 134 h 655"/>
                <a:gd name="T26" fmla="*/ 20 w 596"/>
                <a:gd name="T27" fmla="*/ 191 h 655"/>
                <a:gd name="T28" fmla="*/ 4 w 596"/>
                <a:gd name="T29" fmla="*/ 257 h 655"/>
                <a:gd name="T30" fmla="*/ 0 w 596"/>
                <a:gd name="T31" fmla="*/ 333 h 655"/>
                <a:gd name="T32" fmla="*/ 2 w 596"/>
                <a:gd name="T33" fmla="*/ 371 h 655"/>
                <a:gd name="T34" fmla="*/ 12 w 596"/>
                <a:gd name="T35" fmla="*/ 439 h 655"/>
                <a:gd name="T36" fmla="*/ 34 w 596"/>
                <a:gd name="T37" fmla="*/ 498 h 655"/>
                <a:gd name="T38" fmla="*/ 48 w 596"/>
                <a:gd name="T39" fmla="*/ 525 h 655"/>
                <a:gd name="T40" fmla="*/ 65 w 596"/>
                <a:gd name="T41" fmla="*/ 550 h 655"/>
                <a:gd name="T42" fmla="*/ 86 w 596"/>
                <a:gd name="T43" fmla="*/ 572 h 655"/>
                <a:gd name="T44" fmla="*/ 96 w 596"/>
                <a:gd name="T45" fmla="*/ 582 h 655"/>
                <a:gd name="T46" fmla="*/ 119 w 596"/>
                <a:gd name="T47" fmla="*/ 600 h 655"/>
                <a:gd name="T48" fmla="*/ 159 w 596"/>
                <a:gd name="T49" fmla="*/ 623 h 655"/>
                <a:gd name="T50" fmla="*/ 219 w 596"/>
                <a:gd name="T51" fmla="*/ 644 h 655"/>
                <a:gd name="T52" fmla="*/ 288 w 596"/>
                <a:gd name="T53" fmla="*/ 654 h 655"/>
                <a:gd name="T54" fmla="*/ 325 w 596"/>
                <a:gd name="T55" fmla="*/ 655 h 655"/>
                <a:gd name="T56" fmla="*/ 394 w 596"/>
                <a:gd name="T57" fmla="*/ 654 h 655"/>
                <a:gd name="T58" fmla="*/ 452 w 596"/>
                <a:gd name="T59" fmla="*/ 645 h 655"/>
                <a:gd name="T60" fmla="*/ 478 w 596"/>
                <a:gd name="T61" fmla="*/ 640 h 655"/>
                <a:gd name="T62" fmla="*/ 530 w 596"/>
                <a:gd name="T63" fmla="*/ 621 h 655"/>
                <a:gd name="T64" fmla="*/ 523 w 596"/>
                <a:gd name="T65" fmla="*/ 467 h 655"/>
                <a:gd name="T66" fmla="*/ 487 w 596"/>
                <a:gd name="T67" fmla="*/ 480 h 655"/>
                <a:gd name="T68" fmla="*/ 453 w 596"/>
                <a:gd name="T69" fmla="*/ 490 h 655"/>
                <a:gd name="T70" fmla="*/ 404 w 596"/>
                <a:gd name="T71" fmla="*/ 498 h 655"/>
                <a:gd name="T72" fmla="*/ 351 w 596"/>
                <a:gd name="T73" fmla="*/ 501 h 655"/>
                <a:gd name="T74" fmla="*/ 335 w 596"/>
                <a:gd name="T75" fmla="*/ 499 h 655"/>
                <a:gd name="T76" fmla="*/ 307 w 596"/>
                <a:gd name="T77" fmla="*/ 497 h 655"/>
                <a:gd name="T78" fmla="*/ 283 w 596"/>
                <a:gd name="T79" fmla="*/ 488 h 655"/>
                <a:gd name="T80" fmla="*/ 262 w 596"/>
                <a:gd name="T81" fmla="*/ 477 h 655"/>
                <a:gd name="T82" fmla="*/ 253 w 596"/>
                <a:gd name="T83" fmla="*/ 470 h 655"/>
                <a:gd name="T84" fmla="*/ 237 w 596"/>
                <a:gd name="T85" fmla="*/ 455 h 655"/>
                <a:gd name="T86" fmla="*/ 226 w 596"/>
                <a:gd name="T87" fmla="*/ 435 h 655"/>
                <a:gd name="T88" fmla="*/ 219 w 596"/>
                <a:gd name="T89" fmla="*/ 413 h 655"/>
                <a:gd name="T90" fmla="*/ 215 w 596"/>
                <a:gd name="T91" fmla="*/ 387 h 655"/>
                <a:gd name="T92" fmla="*/ 596 w 596"/>
                <a:gd name="T93" fmla="*/ 291 h 655"/>
                <a:gd name="T94" fmla="*/ 595 w 596"/>
                <a:gd name="T95" fmla="*/ 256 h 655"/>
                <a:gd name="T96" fmla="*/ 585 w 596"/>
                <a:gd name="T97" fmla="*/ 194 h 655"/>
                <a:gd name="T98" fmla="*/ 567 w 596"/>
                <a:gd name="T99" fmla="*/ 141 h 655"/>
                <a:gd name="T100" fmla="*/ 539 w 596"/>
                <a:gd name="T101" fmla="*/ 9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655">
                  <a:moveTo>
                    <a:pt x="520" y="76"/>
                  </a:moveTo>
                  <a:lnTo>
                    <a:pt x="520" y="76"/>
                  </a:lnTo>
                  <a:lnTo>
                    <a:pt x="501" y="58"/>
                  </a:lnTo>
                  <a:lnTo>
                    <a:pt x="478" y="43"/>
                  </a:lnTo>
                  <a:lnTo>
                    <a:pt x="454" y="30"/>
                  </a:lnTo>
                  <a:lnTo>
                    <a:pt x="428" y="20"/>
                  </a:lnTo>
                  <a:lnTo>
                    <a:pt x="400" y="12"/>
                  </a:lnTo>
                  <a:lnTo>
                    <a:pt x="370" y="6"/>
                  </a:lnTo>
                  <a:lnTo>
                    <a:pt x="338" y="2"/>
                  </a:lnTo>
                  <a:lnTo>
                    <a:pt x="304" y="0"/>
                  </a:lnTo>
                  <a:lnTo>
                    <a:pt x="304" y="0"/>
                  </a:lnTo>
                  <a:lnTo>
                    <a:pt x="269" y="2"/>
                  </a:lnTo>
                  <a:lnTo>
                    <a:pt x="236" y="6"/>
                  </a:lnTo>
                  <a:lnTo>
                    <a:pt x="204" y="13"/>
                  </a:lnTo>
                  <a:lnTo>
                    <a:pt x="175" y="23"/>
                  </a:lnTo>
                  <a:lnTo>
                    <a:pt x="147" y="34"/>
                  </a:lnTo>
                  <a:lnTo>
                    <a:pt x="135" y="41"/>
                  </a:lnTo>
                  <a:lnTo>
                    <a:pt x="122" y="50"/>
                  </a:lnTo>
                  <a:lnTo>
                    <a:pt x="111" y="58"/>
                  </a:lnTo>
                  <a:lnTo>
                    <a:pt x="100" y="66"/>
                  </a:lnTo>
                  <a:lnTo>
                    <a:pt x="89" y="76"/>
                  </a:lnTo>
                  <a:lnTo>
                    <a:pt x="79" y="87"/>
                  </a:lnTo>
                  <a:lnTo>
                    <a:pt x="79" y="87"/>
                  </a:lnTo>
                  <a:lnTo>
                    <a:pt x="69" y="97"/>
                  </a:lnTo>
                  <a:lnTo>
                    <a:pt x="61" y="110"/>
                  </a:lnTo>
                  <a:lnTo>
                    <a:pt x="45" y="134"/>
                  </a:lnTo>
                  <a:lnTo>
                    <a:pt x="31" y="162"/>
                  </a:lnTo>
                  <a:lnTo>
                    <a:pt x="20" y="191"/>
                  </a:lnTo>
                  <a:lnTo>
                    <a:pt x="12" y="223"/>
                  </a:lnTo>
                  <a:lnTo>
                    <a:pt x="4" y="257"/>
                  </a:lnTo>
                  <a:lnTo>
                    <a:pt x="2" y="293"/>
                  </a:lnTo>
                  <a:lnTo>
                    <a:pt x="0" y="333"/>
                  </a:lnTo>
                  <a:lnTo>
                    <a:pt x="0" y="333"/>
                  </a:lnTo>
                  <a:lnTo>
                    <a:pt x="2" y="371"/>
                  </a:lnTo>
                  <a:lnTo>
                    <a:pt x="6" y="406"/>
                  </a:lnTo>
                  <a:lnTo>
                    <a:pt x="12" y="439"/>
                  </a:lnTo>
                  <a:lnTo>
                    <a:pt x="21" y="470"/>
                  </a:lnTo>
                  <a:lnTo>
                    <a:pt x="34" y="498"/>
                  </a:lnTo>
                  <a:lnTo>
                    <a:pt x="41" y="512"/>
                  </a:lnTo>
                  <a:lnTo>
                    <a:pt x="48" y="525"/>
                  </a:lnTo>
                  <a:lnTo>
                    <a:pt x="56" y="537"/>
                  </a:lnTo>
                  <a:lnTo>
                    <a:pt x="65" y="550"/>
                  </a:lnTo>
                  <a:lnTo>
                    <a:pt x="75" y="561"/>
                  </a:lnTo>
                  <a:lnTo>
                    <a:pt x="86" y="572"/>
                  </a:lnTo>
                  <a:lnTo>
                    <a:pt x="86" y="572"/>
                  </a:lnTo>
                  <a:lnTo>
                    <a:pt x="96" y="582"/>
                  </a:lnTo>
                  <a:lnTo>
                    <a:pt x="108" y="592"/>
                  </a:lnTo>
                  <a:lnTo>
                    <a:pt x="119" y="600"/>
                  </a:lnTo>
                  <a:lnTo>
                    <a:pt x="132" y="609"/>
                  </a:lnTo>
                  <a:lnTo>
                    <a:pt x="159" y="623"/>
                  </a:lnTo>
                  <a:lnTo>
                    <a:pt x="188" y="634"/>
                  </a:lnTo>
                  <a:lnTo>
                    <a:pt x="219" y="644"/>
                  </a:lnTo>
                  <a:lnTo>
                    <a:pt x="253" y="651"/>
                  </a:lnTo>
                  <a:lnTo>
                    <a:pt x="288" y="654"/>
                  </a:lnTo>
                  <a:lnTo>
                    <a:pt x="325" y="655"/>
                  </a:lnTo>
                  <a:lnTo>
                    <a:pt x="325" y="655"/>
                  </a:lnTo>
                  <a:lnTo>
                    <a:pt x="361" y="655"/>
                  </a:lnTo>
                  <a:lnTo>
                    <a:pt x="394" y="654"/>
                  </a:lnTo>
                  <a:lnTo>
                    <a:pt x="425" y="649"/>
                  </a:lnTo>
                  <a:lnTo>
                    <a:pt x="452" y="645"/>
                  </a:lnTo>
                  <a:lnTo>
                    <a:pt x="452" y="645"/>
                  </a:lnTo>
                  <a:lnTo>
                    <a:pt x="478" y="640"/>
                  </a:lnTo>
                  <a:lnTo>
                    <a:pt x="505" y="631"/>
                  </a:lnTo>
                  <a:lnTo>
                    <a:pt x="530" y="621"/>
                  </a:lnTo>
                  <a:lnTo>
                    <a:pt x="555" y="610"/>
                  </a:lnTo>
                  <a:lnTo>
                    <a:pt x="523" y="467"/>
                  </a:lnTo>
                  <a:lnTo>
                    <a:pt x="523" y="467"/>
                  </a:lnTo>
                  <a:lnTo>
                    <a:pt x="487" y="480"/>
                  </a:lnTo>
                  <a:lnTo>
                    <a:pt x="453" y="490"/>
                  </a:lnTo>
                  <a:lnTo>
                    <a:pt x="453" y="490"/>
                  </a:lnTo>
                  <a:lnTo>
                    <a:pt x="429" y="494"/>
                  </a:lnTo>
                  <a:lnTo>
                    <a:pt x="404" y="498"/>
                  </a:lnTo>
                  <a:lnTo>
                    <a:pt x="377" y="499"/>
                  </a:lnTo>
                  <a:lnTo>
                    <a:pt x="351" y="501"/>
                  </a:lnTo>
                  <a:lnTo>
                    <a:pt x="351" y="501"/>
                  </a:lnTo>
                  <a:lnTo>
                    <a:pt x="335" y="499"/>
                  </a:lnTo>
                  <a:lnTo>
                    <a:pt x="321" y="498"/>
                  </a:lnTo>
                  <a:lnTo>
                    <a:pt x="307" y="497"/>
                  </a:lnTo>
                  <a:lnTo>
                    <a:pt x="295" y="492"/>
                  </a:lnTo>
                  <a:lnTo>
                    <a:pt x="283" y="488"/>
                  </a:lnTo>
                  <a:lnTo>
                    <a:pt x="272" y="484"/>
                  </a:lnTo>
                  <a:lnTo>
                    <a:pt x="262" y="477"/>
                  </a:lnTo>
                  <a:lnTo>
                    <a:pt x="253" y="470"/>
                  </a:lnTo>
                  <a:lnTo>
                    <a:pt x="253" y="470"/>
                  </a:lnTo>
                  <a:lnTo>
                    <a:pt x="244" y="463"/>
                  </a:lnTo>
                  <a:lnTo>
                    <a:pt x="237" y="455"/>
                  </a:lnTo>
                  <a:lnTo>
                    <a:pt x="232" y="445"/>
                  </a:lnTo>
                  <a:lnTo>
                    <a:pt x="226" y="435"/>
                  </a:lnTo>
                  <a:lnTo>
                    <a:pt x="222" y="424"/>
                  </a:lnTo>
                  <a:lnTo>
                    <a:pt x="219" y="413"/>
                  </a:lnTo>
                  <a:lnTo>
                    <a:pt x="216" y="400"/>
                  </a:lnTo>
                  <a:lnTo>
                    <a:pt x="215" y="387"/>
                  </a:lnTo>
                  <a:lnTo>
                    <a:pt x="596" y="387"/>
                  </a:lnTo>
                  <a:lnTo>
                    <a:pt x="596" y="291"/>
                  </a:lnTo>
                  <a:lnTo>
                    <a:pt x="596" y="291"/>
                  </a:lnTo>
                  <a:lnTo>
                    <a:pt x="595" y="256"/>
                  </a:lnTo>
                  <a:lnTo>
                    <a:pt x="592" y="225"/>
                  </a:lnTo>
                  <a:lnTo>
                    <a:pt x="585" y="194"/>
                  </a:lnTo>
                  <a:lnTo>
                    <a:pt x="578" y="166"/>
                  </a:lnTo>
                  <a:lnTo>
                    <a:pt x="567" y="141"/>
                  </a:lnTo>
                  <a:lnTo>
                    <a:pt x="554" y="117"/>
                  </a:lnTo>
                  <a:lnTo>
                    <a:pt x="539" y="96"/>
                  </a:lnTo>
                  <a:lnTo>
                    <a:pt x="520" y="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5">
              <a:extLst>
                <a:ext uri="{FF2B5EF4-FFF2-40B4-BE49-F238E27FC236}">
                  <a16:creationId xmlns:a16="http://schemas.microsoft.com/office/drawing/2014/main" id="{CA0A34D1-DD6F-41A1-B8FF-E8A53CA51F7C}"/>
                </a:ext>
              </a:extLst>
            </p:cNvPr>
            <p:cNvSpPr>
              <a:spLocks/>
            </p:cNvSpPr>
            <p:nvPr/>
          </p:nvSpPr>
          <p:spPr bwMode="auto">
            <a:xfrm>
              <a:off x="3176" y="1805"/>
              <a:ext cx="92" cy="50"/>
            </a:xfrm>
            <a:custGeom>
              <a:avLst/>
              <a:gdLst>
                <a:gd name="T0" fmla="*/ 0 w 184"/>
                <a:gd name="T1" fmla="*/ 101 h 101"/>
                <a:gd name="T2" fmla="*/ 0 w 184"/>
                <a:gd name="T3" fmla="*/ 101 h 101"/>
                <a:gd name="T4" fmla="*/ 4 w 184"/>
                <a:gd name="T5" fmla="*/ 77 h 101"/>
                <a:gd name="T6" fmla="*/ 7 w 184"/>
                <a:gd name="T7" fmla="*/ 66 h 101"/>
                <a:gd name="T8" fmla="*/ 10 w 184"/>
                <a:gd name="T9" fmla="*/ 56 h 101"/>
                <a:gd name="T10" fmla="*/ 14 w 184"/>
                <a:gd name="T11" fmla="*/ 46 h 101"/>
                <a:gd name="T12" fmla="*/ 20 w 184"/>
                <a:gd name="T13" fmla="*/ 39 h 101"/>
                <a:gd name="T14" fmla="*/ 24 w 184"/>
                <a:gd name="T15" fmla="*/ 31 h 101"/>
                <a:gd name="T16" fmla="*/ 31 w 184"/>
                <a:gd name="T17" fmla="*/ 25 h 101"/>
                <a:gd name="T18" fmla="*/ 31 w 184"/>
                <a:gd name="T19" fmla="*/ 25 h 101"/>
                <a:gd name="T20" fmla="*/ 43 w 184"/>
                <a:gd name="T21" fmla="*/ 14 h 101"/>
                <a:gd name="T22" fmla="*/ 50 w 184"/>
                <a:gd name="T23" fmla="*/ 10 h 101"/>
                <a:gd name="T24" fmla="*/ 59 w 184"/>
                <a:gd name="T25" fmla="*/ 7 h 101"/>
                <a:gd name="T26" fmla="*/ 76 w 184"/>
                <a:gd name="T27" fmla="*/ 1 h 101"/>
                <a:gd name="T28" fmla="*/ 94 w 184"/>
                <a:gd name="T29" fmla="*/ 0 h 101"/>
                <a:gd name="T30" fmla="*/ 94 w 184"/>
                <a:gd name="T31" fmla="*/ 0 h 101"/>
                <a:gd name="T32" fmla="*/ 104 w 184"/>
                <a:gd name="T33" fmla="*/ 1 h 101"/>
                <a:gd name="T34" fmla="*/ 112 w 184"/>
                <a:gd name="T35" fmla="*/ 3 h 101"/>
                <a:gd name="T36" fmla="*/ 122 w 184"/>
                <a:gd name="T37" fmla="*/ 4 h 101"/>
                <a:gd name="T38" fmla="*/ 130 w 184"/>
                <a:gd name="T39" fmla="*/ 7 h 101"/>
                <a:gd name="T40" fmla="*/ 137 w 184"/>
                <a:gd name="T41" fmla="*/ 11 h 101"/>
                <a:gd name="T42" fmla="*/ 146 w 184"/>
                <a:gd name="T43" fmla="*/ 15 h 101"/>
                <a:gd name="T44" fmla="*/ 153 w 184"/>
                <a:gd name="T45" fmla="*/ 21 h 101"/>
                <a:gd name="T46" fmla="*/ 158 w 184"/>
                <a:gd name="T47" fmla="*/ 28 h 101"/>
                <a:gd name="T48" fmla="*/ 158 w 184"/>
                <a:gd name="T49" fmla="*/ 28 h 101"/>
                <a:gd name="T50" fmla="*/ 164 w 184"/>
                <a:gd name="T51" fmla="*/ 35 h 101"/>
                <a:gd name="T52" fmla="*/ 170 w 184"/>
                <a:gd name="T53" fmla="*/ 42 h 101"/>
                <a:gd name="T54" fmla="*/ 174 w 184"/>
                <a:gd name="T55" fmla="*/ 50 h 101"/>
                <a:gd name="T56" fmla="*/ 177 w 184"/>
                <a:gd name="T57" fmla="*/ 60 h 101"/>
                <a:gd name="T58" fmla="*/ 179 w 184"/>
                <a:gd name="T59" fmla="*/ 69 h 101"/>
                <a:gd name="T60" fmla="*/ 182 w 184"/>
                <a:gd name="T61" fmla="*/ 80 h 101"/>
                <a:gd name="T62" fmla="*/ 184 w 184"/>
                <a:gd name="T63" fmla="*/ 101 h 101"/>
                <a:gd name="T64" fmla="*/ 0 w 184"/>
                <a:gd name="T6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01">
                  <a:moveTo>
                    <a:pt x="0" y="101"/>
                  </a:moveTo>
                  <a:lnTo>
                    <a:pt x="0" y="101"/>
                  </a:lnTo>
                  <a:lnTo>
                    <a:pt x="4" y="77"/>
                  </a:lnTo>
                  <a:lnTo>
                    <a:pt x="7" y="66"/>
                  </a:lnTo>
                  <a:lnTo>
                    <a:pt x="10" y="56"/>
                  </a:lnTo>
                  <a:lnTo>
                    <a:pt x="14" y="46"/>
                  </a:lnTo>
                  <a:lnTo>
                    <a:pt x="20" y="39"/>
                  </a:lnTo>
                  <a:lnTo>
                    <a:pt x="24" y="31"/>
                  </a:lnTo>
                  <a:lnTo>
                    <a:pt x="31" y="25"/>
                  </a:lnTo>
                  <a:lnTo>
                    <a:pt x="31" y="25"/>
                  </a:lnTo>
                  <a:lnTo>
                    <a:pt x="43" y="14"/>
                  </a:lnTo>
                  <a:lnTo>
                    <a:pt x="50" y="10"/>
                  </a:lnTo>
                  <a:lnTo>
                    <a:pt x="59" y="7"/>
                  </a:lnTo>
                  <a:lnTo>
                    <a:pt x="76" y="1"/>
                  </a:lnTo>
                  <a:lnTo>
                    <a:pt x="94" y="0"/>
                  </a:lnTo>
                  <a:lnTo>
                    <a:pt x="94" y="0"/>
                  </a:lnTo>
                  <a:lnTo>
                    <a:pt x="104" y="1"/>
                  </a:lnTo>
                  <a:lnTo>
                    <a:pt x="112" y="3"/>
                  </a:lnTo>
                  <a:lnTo>
                    <a:pt x="122" y="4"/>
                  </a:lnTo>
                  <a:lnTo>
                    <a:pt x="130" y="7"/>
                  </a:lnTo>
                  <a:lnTo>
                    <a:pt x="137" y="11"/>
                  </a:lnTo>
                  <a:lnTo>
                    <a:pt x="146" y="15"/>
                  </a:lnTo>
                  <a:lnTo>
                    <a:pt x="153" y="21"/>
                  </a:lnTo>
                  <a:lnTo>
                    <a:pt x="158" y="28"/>
                  </a:lnTo>
                  <a:lnTo>
                    <a:pt x="158" y="28"/>
                  </a:lnTo>
                  <a:lnTo>
                    <a:pt x="164" y="35"/>
                  </a:lnTo>
                  <a:lnTo>
                    <a:pt x="170" y="42"/>
                  </a:lnTo>
                  <a:lnTo>
                    <a:pt x="174" y="50"/>
                  </a:lnTo>
                  <a:lnTo>
                    <a:pt x="177" y="60"/>
                  </a:lnTo>
                  <a:lnTo>
                    <a:pt x="179" y="69"/>
                  </a:lnTo>
                  <a:lnTo>
                    <a:pt x="182" y="80"/>
                  </a:lnTo>
                  <a:lnTo>
                    <a:pt x="184" y="101"/>
                  </a:lnTo>
                  <a:lnTo>
                    <a:pt x="0" y="1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custData r:id="rId1"/>
      <p:custData r:id="rId2"/>
    </p:custDataLst>
    <p:extLst>
      <p:ext uri="{BB962C8B-B14F-4D97-AF65-F5344CB8AC3E}">
        <p14:creationId xmlns:p14="http://schemas.microsoft.com/office/powerpoint/2010/main" val="942430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CB4ED74-BB6B-4F5C-A1B5-93179235E164}"/>
              </a:ext>
            </a:extLst>
          </p:cNvPr>
          <p:cNvSpPr txBox="1"/>
          <p:nvPr/>
        </p:nvSpPr>
        <p:spPr>
          <a:xfrm>
            <a:off x="914399" y="2959100"/>
            <a:ext cx="3695701" cy="2527300"/>
          </a:xfrm>
          <a:prstGeom prst="rect">
            <a:avLst/>
          </a:prstGeom>
        </p:spPr>
        <p:txBody>
          <a:bodyPr vert="horz" wrap="square" lIns="0" tIns="0" rIns="0" bIns="0" rtlCol="0">
            <a:normAutofit/>
          </a:bodyPr>
          <a:lstStyle/>
          <a:p>
            <a:pPr>
              <a:lnSpc>
                <a:spcPct val="120000"/>
              </a:lnSpc>
              <a:spcAft>
                <a:spcPts val="600"/>
              </a:spcAft>
            </a:pPr>
            <a:r>
              <a:rPr lang="en-US" sz="1400" i="1" u="none" strike="noStrike" baseline="0" dirty="0">
                <a:cs typeface="Calibri Light" panose="020F0302020204030204" pitchFamily="34" charset="0"/>
              </a:rPr>
              <a:t>Cloud computing is a remote, virtual pool of on-demand, shared resources that can be rapidly deployed at scale</a:t>
            </a:r>
            <a:endParaRPr lang="en-US" sz="1400" i="1" cap="all" spc="150" baseline="0" dirty="0">
              <a:cs typeface="Calibri Light" panose="020F0302020204030204" pitchFamily="34" charset="0"/>
            </a:endParaRPr>
          </a:p>
        </p:txBody>
      </p:sp>
      <p:sp>
        <p:nvSpPr>
          <p:cNvPr id="2" name="Title 1">
            <a:extLst>
              <a:ext uri="{FF2B5EF4-FFF2-40B4-BE49-F238E27FC236}">
                <a16:creationId xmlns:a16="http://schemas.microsoft.com/office/drawing/2014/main" id="{8A4E3EBE-6689-474A-BD66-AD3567A9987A}"/>
              </a:ext>
            </a:extLst>
          </p:cNvPr>
          <p:cNvSpPr>
            <a:spLocks noGrp="1"/>
          </p:cNvSpPr>
          <p:nvPr>
            <p:ph type="body" sz="quarter" idx="21"/>
          </p:nvPr>
        </p:nvSpPr>
        <p:spPr>
          <a:xfrm>
            <a:off x="914400" y="571500"/>
            <a:ext cx="3009900" cy="2190750"/>
          </a:xfrm>
        </p:spPr>
        <p:txBody>
          <a:bodyPr vert="horz" lIns="0" tIns="0" rIns="0" bIns="0" rtlCol="0" anchor="b" anchorCtr="0">
            <a:normAutofit/>
          </a:bodyPr>
          <a:lstStyle/>
          <a:p>
            <a:r>
              <a:rPr lang="en-US" b="0" kern="1200" dirty="0">
                <a:latin typeface="+mj-lt"/>
                <a:ea typeface="+mn-ea"/>
                <a:cs typeface="Calibri Light" panose="020F0302020204030204" pitchFamily="34" charset="0"/>
              </a:rPr>
              <a:t>Cloud Computing</a:t>
            </a:r>
          </a:p>
        </p:txBody>
      </p:sp>
      <p:pic>
        <p:nvPicPr>
          <p:cNvPr id="11" name="Picture 10" descr="A screen shot of a game&#10;&#10;Description automatically generated with low confidence">
            <a:extLst>
              <a:ext uri="{FF2B5EF4-FFF2-40B4-BE49-F238E27FC236}">
                <a16:creationId xmlns:a16="http://schemas.microsoft.com/office/drawing/2014/main" id="{0A9F9AA1-E979-416B-B891-4D678FAA9864}"/>
              </a:ext>
            </a:extLst>
          </p:cNvPr>
          <p:cNvPicPr>
            <a:picLocks noChangeAspect="1"/>
          </p:cNvPicPr>
          <p:nvPr/>
        </p:nvPicPr>
        <p:blipFill>
          <a:blip r:embed="rId3"/>
          <a:stretch>
            <a:fillRect/>
          </a:stretch>
        </p:blipFill>
        <p:spPr>
          <a:xfrm>
            <a:off x="4953000" y="651034"/>
            <a:ext cx="7239000" cy="5555931"/>
          </a:xfrm>
          <a:prstGeom prst="rect">
            <a:avLst/>
          </a:prstGeom>
          <a:noFill/>
        </p:spPr>
      </p:pic>
    </p:spTree>
    <p:extLst>
      <p:ext uri="{BB962C8B-B14F-4D97-AF65-F5344CB8AC3E}">
        <p14:creationId xmlns:p14="http://schemas.microsoft.com/office/powerpoint/2010/main" val="397389009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B29E6B01-5A88-C6C8-E949-C7309874F3B4}"/>
              </a:ext>
            </a:extLst>
          </p:cNvPr>
          <p:cNvSpPr>
            <a:spLocks noGrp="1"/>
          </p:cNvSpPr>
          <p:nvPr>
            <p:ph type="body" sz="quarter" idx="21"/>
          </p:nvPr>
        </p:nvSpPr>
        <p:spPr>
          <a:xfrm>
            <a:off x="914400" y="571500"/>
            <a:ext cx="2039815" cy="2190750"/>
          </a:xfrm>
        </p:spPr>
        <p:txBody>
          <a:bodyPr anchor="b">
            <a:normAutofit/>
          </a:bodyPr>
          <a:lstStyle/>
          <a:p>
            <a:r>
              <a:rPr lang="it-IT" dirty="0"/>
              <a:t>Microservices</a:t>
            </a:r>
            <a:endParaRPr lang="en-US" dirty="0"/>
          </a:p>
        </p:txBody>
      </p:sp>
      <p:pic>
        <p:nvPicPr>
          <p:cNvPr id="6" name="Graphic 5">
            <a:extLst>
              <a:ext uri="{FF2B5EF4-FFF2-40B4-BE49-F238E27FC236}">
                <a16:creationId xmlns:a16="http://schemas.microsoft.com/office/drawing/2014/main" id="{3D95FCE4-2642-413C-AABF-F8614BC317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65230" y="1034353"/>
            <a:ext cx="9026769" cy="3997568"/>
          </a:xfrm>
          <a:prstGeom prst="rect">
            <a:avLst/>
          </a:prstGeom>
        </p:spPr>
      </p:pic>
    </p:spTree>
    <p:extLst>
      <p:ext uri="{BB962C8B-B14F-4D97-AF65-F5344CB8AC3E}">
        <p14:creationId xmlns:p14="http://schemas.microsoft.com/office/powerpoint/2010/main" val="34374177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EEA03E52-E482-6B75-ED26-955812496DE4}"/>
              </a:ext>
            </a:extLst>
          </p:cNvPr>
          <p:cNvSpPr>
            <a:spLocks noGrp="1"/>
          </p:cNvSpPr>
          <p:nvPr>
            <p:ph type="body" sz="quarter" idx="21"/>
          </p:nvPr>
        </p:nvSpPr>
        <p:spPr>
          <a:xfrm>
            <a:off x="914400" y="2274276"/>
            <a:ext cx="3009900" cy="487973"/>
          </a:xfrm>
        </p:spPr>
        <p:txBody>
          <a:bodyPr/>
          <a:lstStyle/>
          <a:p>
            <a:r>
              <a:rPr lang="it-IT" dirty="0"/>
              <a:t>Serverless Computing</a:t>
            </a:r>
            <a:endParaRPr lang="en-US" dirty="0"/>
          </a:p>
        </p:txBody>
      </p:sp>
      <p:pic>
        <p:nvPicPr>
          <p:cNvPr id="5" name="Graphic 4">
            <a:extLst>
              <a:ext uri="{FF2B5EF4-FFF2-40B4-BE49-F238E27FC236}">
                <a16:creationId xmlns:a16="http://schemas.microsoft.com/office/drawing/2014/main" id="{F1F43C58-AA7B-4406-9DB2-E99A94F535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3000" y="1515764"/>
            <a:ext cx="7239000" cy="3826472"/>
          </a:xfrm>
          <a:prstGeom prst="rect">
            <a:avLst/>
          </a:prstGeom>
        </p:spPr>
      </p:pic>
      <p:sp>
        <p:nvSpPr>
          <p:cNvPr id="11" name="Text Placeholder 1">
            <a:extLst>
              <a:ext uri="{FF2B5EF4-FFF2-40B4-BE49-F238E27FC236}">
                <a16:creationId xmlns:a16="http://schemas.microsoft.com/office/drawing/2014/main" id="{52052AA8-2433-4F65-A7D1-20943BC09645}"/>
              </a:ext>
            </a:extLst>
          </p:cNvPr>
          <p:cNvSpPr>
            <a:spLocks noGrp="1"/>
          </p:cNvSpPr>
          <p:nvPr>
            <p:ph type="body" sz="quarter" idx="14"/>
          </p:nvPr>
        </p:nvSpPr>
        <p:spPr>
          <a:xfrm>
            <a:off x="914400" y="2959100"/>
            <a:ext cx="3610708" cy="2527300"/>
          </a:xfrm>
        </p:spPr>
        <p:txBody>
          <a:bodyPr/>
          <a:lstStyle/>
          <a:p>
            <a:pPr algn="l"/>
            <a:r>
              <a:rPr lang="en-US" sz="1800" b="0" i="1" u="none" strike="noStrike" baseline="0" dirty="0"/>
              <a:t>Serverless computing is a method of providing back-end services on an as-used basis.</a:t>
            </a:r>
            <a:endParaRPr lang="en-US" i="1" dirty="0"/>
          </a:p>
        </p:txBody>
      </p:sp>
    </p:spTree>
    <p:extLst>
      <p:ext uri="{BB962C8B-B14F-4D97-AF65-F5344CB8AC3E}">
        <p14:creationId xmlns:p14="http://schemas.microsoft.com/office/powerpoint/2010/main" val="250774671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8" name="Picture 10" descr="Is AWS good as a career for fresher in 2021 AWS course in pune?">
            <a:extLst>
              <a:ext uri="{FF2B5EF4-FFF2-40B4-BE49-F238E27FC236}">
                <a16:creationId xmlns:a16="http://schemas.microsoft.com/office/drawing/2014/main" id="{B8B72125-8AEF-4235-AC73-08BE77086BD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0"/>
            <a:ext cx="12191999" cy="6858000"/>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B43F967-F3C0-4714-B918-4CA1504D38ED}"/>
              </a:ext>
            </a:extLst>
          </p:cNvPr>
          <p:cNvSpPr>
            <a:spLocks noGrp="1"/>
          </p:cNvSpPr>
          <p:nvPr>
            <p:ph type="body" sz="quarter" idx="11"/>
          </p:nvPr>
        </p:nvSpPr>
        <p:spPr>
          <a:xfrm>
            <a:off x="0" y="41031"/>
            <a:ext cx="4622801" cy="1846659"/>
          </a:xfrm>
        </p:spPr>
        <p:txBody>
          <a:bodyPr anchor="ctr">
            <a:normAutofit/>
          </a:bodyPr>
          <a:lstStyle/>
          <a:p>
            <a:r>
              <a:rPr lang="it-IT" dirty="0"/>
              <a:t>Tools</a:t>
            </a:r>
            <a:endParaRPr lang="en-US" dirty="0"/>
          </a:p>
        </p:txBody>
      </p:sp>
      <p:pic>
        <p:nvPicPr>
          <p:cNvPr id="9" name="Picture 8" descr="Getting Started With Serverless Framework | by Osusara Kammalawatta | FAUN  Publication">
            <a:extLst>
              <a:ext uri="{FF2B5EF4-FFF2-40B4-BE49-F238E27FC236}">
                <a16:creationId xmlns:a16="http://schemas.microsoft.com/office/drawing/2014/main" id="{11E3F661-CBEA-4CE3-852D-84A0B4D045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55726" y="266700"/>
            <a:ext cx="2839201" cy="1395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61104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A742F-8039-4FEF-AB2E-5156D7767EF0}"/>
              </a:ext>
            </a:extLst>
          </p:cNvPr>
          <p:cNvSpPr>
            <a:spLocks noGrp="1"/>
          </p:cNvSpPr>
          <p:nvPr>
            <p:ph type="title"/>
          </p:nvPr>
        </p:nvSpPr>
        <p:spPr/>
        <p:txBody>
          <a:bodyPr/>
          <a:lstStyle/>
          <a:p>
            <a:r>
              <a:rPr lang="it-IT"/>
              <a:t>The Requirements</a:t>
            </a:r>
            <a:endParaRPr lang="en-US" dirty="0"/>
          </a:p>
        </p:txBody>
      </p:sp>
      <p:sp>
        <p:nvSpPr>
          <p:cNvPr id="3" name="TextBox 2">
            <a:extLst>
              <a:ext uri="{FF2B5EF4-FFF2-40B4-BE49-F238E27FC236}">
                <a16:creationId xmlns:a16="http://schemas.microsoft.com/office/drawing/2014/main" id="{500FEE37-9FBA-40F3-B1B7-23A01C4A34BD}"/>
              </a:ext>
            </a:extLst>
          </p:cNvPr>
          <p:cNvSpPr txBox="1"/>
          <p:nvPr/>
        </p:nvSpPr>
        <p:spPr>
          <a:xfrm>
            <a:off x="914400" y="1230923"/>
            <a:ext cx="10890738" cy="4747846"/>
          </a:xfrm>
          <a:prstGeom prst="rect">
            <a:avLst/>
          </a:prstGeom>
          <a:noFill/>
        </p:spPr>
        <p:txBody>
          <a:bodyPr wrap="square" lIns="0" tIns="0" rIns="0" bIns="0" rtlCol="0">
            <a:noAutofit/>
          </a:bodyPr>
          <a:lstStyle/>
          <a:p>
            <a:pPr marL="171450" indent="-171450" algn="l">
              <a:spcBef>
                <a:spcPts val="600"/>
              </a:spcBef>
              <a:buSzPct val="100000"/>
              <a:buFont typeface="Arial" panose="020B0604020202020204" pitchFamily="34" charset="0"/>
              <a:buChar char="•"/>
            </a:pPr>
            <a:r>
              <a:rPr lang="en-US" dirty="0"/>
              <a:t>There has to be a </a:t>
            </a:r>
            <a:r>
              <a:rPr lang="en-US" b="1" dirty="0"/>
              <a:t>distinction between a normal User and an Administrator </a:t>
            </a:r>
            <a:r>
              <a:rPr lang="en-US" dirty="0"/>
              <a:t>of the Data Entry Tool   </a:t>
            </a:r>
          </a:p>
          <a:p>
            <a:pPr marL="171450" indent="-171450" algn="l">
              <a:spcBef>
                <a:spcPts val="600"/>
              </a:spcBef>
              <a:buSzPct val="100000"/>
              <a:buFont typeface="Arial" panose="020B0604020202020204" pitchFamily="34" charset="0"/>
              <a:buChar char="•"/>
            </a:pPr>
            <a:r>
              <a:rPr lang="en-US" dirty="0"/>
              <a:t>Tables can insist on several databases and the supported engines are </a:t>
            </a:r>
            <a:r>
              <a:rPr lang="en-US" b="1" dirty="0"/>
              <a:t>PostgreSQL, Oracle, and MSSQL Server</a:t>
            </a:r>
            <a:r>
              <a:rPr lang="en-US" dirty="0"/>
              <a:t>   </a:t>
            </a:r>
          </a:p>
          <a:p>
            <a:pPr marL="171450" indent="-171450" algn="l">
              <a:spcBef>
                <a:spcPts val="600"/>
              </a:spcBef>
              <a:buSzPct val="100000"/>
              <a:buFont typeface="Arial" panose="020B0604020202020204" pitchFamily="34" charset="0"/>
              <a:buChar char="•"/>
            </a:pPr>
            <a:r>
              <a:rPr lang="en-US" dirty="0"/>
              <a:t>Tables can be </a:t>
            </a:r>
            <a:r>
              <a:rPr lang="en-US" b="1" dirty="0"/>
              <a:t>organized in groups </a:t>
            </a:r>
            <a:r>
              <a:rPr lang="en-US" dirty="0"/>
              <a:t>in such a way as to create a 2-level depth hierarchy   </a:t>
            </a:r>
          </a:p>
          <a:p>
            <a:pPr marL="171450" indent="-171450" algn="l">
              <a:spcBef>
                <a:spcPts val="600"/>
              </a:spcBef>
              <a:buSzPct val="100000"/>
              <a:buFont typeface="Arial" panose="020B0604020202020204" pitchFamily="34" charset="0"/>
              <a:buChar char="•"/>
            </a:pPr>
            <a:r>
              <a:rPr lang="en-US" dirty="0"/>
              <a:t>Each table could be assigned an action in JSON format that would be </a:t>
            </a:r>
            <a:r>
              <a:rPr lang="en-US" b="1" dirty="0"/>
              <a:t>performed on-demand</a:t>
            </a:r>
            <a:r>
              <a:rPr lang="en-US" dirty="0"/>
              <a:t>  </a:t>
            </a:r>
          </a:p>
          <a:p>
            <a:pPr marL="171450" indent="-171450" algn="l">
              <a:spcBef>
                <a:spcPts val="600"/>
              </a:spcBef>
              <a:buSzPct val="100000"/>
              <a:buFont typeface="Arial" panose="020B0604020202020204" pitchFamily="34" charset="0"/>
              <a:buChar char="•"/>
            </a:pPr>
            <a:r>
              <a:rPr lang="en-US" dirty="0"/>
              <a:t>A </a:t>
            </a:r>
            <a:r>
              <a:rPr lang="en-US" b="1" dirty="0"/>
              <a:t>subset of permissions </a:t>
            </a:r>
            <a:r>
              <a:rPr lang="en-US" dirty="0"/>
              <a:t>is assigned to each table, spanning from simple visualization to direct alteration of values</a:t>
            </a:r>
          </a:p>
          <a:p>
            <a:pPr marL="171450" indent="-171450" algn="l">
              <a:spcBef>
                <a:spcPts val="600"/>
              </a:spcBef>
              <a:buSzPct val="100000"/>
              <a:buFont typeface="Arial" panose="020B0604020202020204" pitchFamily="34" charset="0"/>
              <a:buChar char="•"/>
            </a:pPr>
            <a:r>
              <a:rPr lang="en-US" dirty="0"/>
              <a:t>Permissions to users are provided by creating </a:t>
            </a:r>
            <a:r>
              <a:rPr lang="en-US" b="1" dirty="0"/>
              <a:t>associations between groups of users and a table </a:t>
            </a:r>
            <a:r>
              <a:rPr lang="en-US" dirty="0"/>
              <a:t>or groups of tables</a:t>
            </a:r>
          </a:p>
          <a:p>
            <a:pPr marL="171450" indent="-171450" algn="l">
              <a:spcBef>
                <a:spcPts val="600"/>
              </a:spcBef>
              <a:buSzPct val="100000"/>
              <a:buFont typeface="Arial" panose="020B0604020202020204" pitchFamily="34" charset="0"/>
              <a:buChar char="•"/>
            </a:pPr>
            <a:r>
              <a:rPr lang="en-US" dirty="0"/>
              <a:t>Each Field in a table is associated with a data type which will help its </a:t>
            </a:r>
            <a:r>
              <a:rPr lang="en-US" b="1" dirty="0"/>
              <a:t>validation</a:t>
            </a:r>
          </a:p>
          <a:p>
            <a:pPr marL="171450" indent="-171450" algn="l">
              <a:spcBef>
                <a:spcPts val="600"/>
              </a:spcBef>
              <a:buSzPct val="100000"/>
              <a:buFont typeface="Arial" panose="020B0604020202020204" pitchFamily="34" charset="0"/>
              <a:buChar char="•"/>
            </a:pPr>
            <a:r>
              <a:rPr lang="en-US" dirty="0"/>
              <a:t>The possibility of </a:t>
            </a:r>
            <a:r>
              <a:rPr lang="en-US" b="1" dirty="0"/>
              <a:t>importing/exporting data</a:t>
            </a:r>
            <a:r>
              <a:rPr lang="en-US" dirty="0"/>
              <a:t> from/to Excel files must be arranged</a:t>
            </a:r>
          </a:p>
          <a:p>
            <a:pPr marL="171450" indent="-171450" algn="l">
              <a:spcBef>
                <a:spcPts val="600"/>
              </a:spcBef>
              <a:buSzPct val="100000"/>
              <a:buFont typeface="Arial" panose="020B0604020202020204" pitchFamily="34" charset="0"/>
              <a:buChar char="•"/>
            </a:pPr>
            <a:r>
              <a:rPr lang="en-US" dirty="0"/>
              <a:t>Each operation performed by a User must be </a:t>
            </a:r>
            <a:r>
              <a:rPr lang="en-US" b="1" dirty="0"/>
              <a:t>tracked</a:t>
            </a:r>
          </a:p>
        </p:txBody>
      </p:sp>
    </p:spTree>
    <p:extLst>
      <p:ext uri="{BB962C8B-B14F-4D97-AF65-F5344CB8AC3E}">
        <p14:creationId xmlns:p14="http://schemas.microsoft.com/office/powerpoint/2010/main" val="281382832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2021 Theme Colors K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eloitteDigital202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0" tIns="0" rIns="0" bIns="0" rtlCol="0" anchor="ct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spcBef>
            <a:spcPts val="600"/>
          </a:spcBef>
          <a:buSzPct val="100000"/>
          <a:defRPr sz="1200" dirty="0" smtClean="0"/>
        </a:defPPr>
      </a:lstStyle>
    </a:txDef>
  </a:objectDefaults>
  <a:extraClrSchemeLst/>
  <a:custClrLst>
    <a:custClr name="Blue 3">
      <a:srgbClr val="00A3E0"/>
    </a:custClr>
    <a:custClr name="Green 5">
      <a:srgbClr val="009A44"/>
    </a:custClr>
    <a:custClr name="Green 6">
      <a:srgbClr val="046A38"/>
    </a:custClr>
    <a:custClr name="Deloitte Green">
      <a:srgbClr val="86BC25"/>
    </a:custClr>
  </a:custClrLst>
  <a:extLst>
    <a:ext uri="{05A4C25C-085E-4340-85A3-A5531E510DB2}">
      <thm15:themeFamily xmlns:thm15="http://schemas.microsoft.com/office/thememl/2012/main" name="DD 2021 Theme Colors KN" id="{93D8CFC8-2B43-3247-BE79-DCDD4FA900DF}" vid="{F8E4500E-2F27-3440-ABE2-055120521E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slideVersion":1,"isValidatorEnabled":false,"isLocked":false,"elementsMetadata":[],"slideId":"637842657266682166","enableDocumentContentUpdater":false,"version":"2.0"}]]></TemplafySlideTemplateConfiguration>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TemplafySlideTemplateConfiguration><![CDATA[{"slideVersion":1,"isValidatorEnabled":false,"isLocked":false,"elementsMetadata":[],"slideId":"637842657265527760","enableDocumentContentUpdater":false,"version":"2.0"}]]></TemplafySlideTemplateConfiguration>
</file>

<file path=customXml/item18.xml><?xml version="1.0" encoding="utf-8"?>
<TemplafySlideFormConfiguration><![CDATA[{"formFields":[],"formDataEntries":[]}]]></TemplafySlideFormConfiguration>
</file>

<file path=customXml/item19.xml><?xml version="1.0" encoding="utf-8"?>
<TemplafySlideTemplateConfiguration><![CDATA[{"slideVersion":1,"isValidatorEnabled":false,"isLocked":false,"elementsMetadata":[],"slideId":"637842657267264028","enableDocumentContentUpdater":false,"version":"2.0"}]]></TemplafySlideTemplateConfiguration>
</file>

<file path=customXml/item2.xml><?xml version="1.0" encoding="utf-8"?>
<TemplafySlideTemplateConfiguration><![CDATA[{"slideVersion":1,"isValidatorEnabled":false,"isLocked":false,"elementsMetadata":[],"slideId":"637842657264504044","enableDocumentContentUpdater":false,"version":"2.0"}]]></TemplafySlideTemplateConfiguration>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637842657267527754","enableDocumentContentUpdater":false,"version":"2.0"}]]></TemplafySlideTemplateConfiguration>
</file>

<file path=customXml/item22.xml><?xml version="1.0" encoding="utf-8"?>
<TemplafySlideFormConfiguration><![CDATA[{"formFields":[],"formDataEntries":[]}]]></TemplafySlideFormConfiguration>
</file>

<file path=customXml/item3.xml><?xml version="1.0" encoding="utf-8"?>
<TemplafySlideTemplateConfiguration><![CDATA[{"slideVersion":1,"isValidatorEnabled":false,"isLocked":false,"elementsMetadata":[],"slideId":"637842657268543105","enableDocumentContentUpdater":false,"version":"2.0"}]]></TemplafySlideTemplateConfiguration>
</file>

<file path=customXml/item4.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637842657264781452","enableDocumentContentUpdater":false,"version":"2.0"}]]></TemplafySlideTemplateConfiguration>
</file>

<file path=customXml/item6.xml><?xml version="1.0" encoding="utf-8"?>
<ct:contentTypeSchema xmlns:ct="http://schemas.microsoft.com/office/2006/metadata/contentType" xmlns:ma="http://schemas.microsoft.com/office/2006/metadata/properties/metaAttributes" ct:_="" ma:_="" ma:contentTypeName="Document" ma:contentTypeID="0x0101005AC3DAF799467542A46724AAE9F289A1" ma:contentTypeVersion="14" ma:contentTypeDescription="Create a new document." ma:contentTypeScope="" ma:versionID="452f27e7cbf4009d254537acb1d3ca99">
  <xsd:schema xmlns:xsd="http://www.w3.org/2001/XMLSchema" xmlns:xs="http://www.w3.org/2001/XMLSchema" xmlns:p="http://schemas.microsoft.com/office/2006/metadata/properties" xmlns:ns2="e8c3e202-9f93-4325-bb6d-25c44ffbbe5c" xmlns:ns3="cc31e9f6-f128-4894-b2f9-7f82ccdbd699" targetNamespace="http://schemas.microsoft.com/office/2006/metadata/properties" ma:root="true" ma:fieldsID="3d4ed94ba6c7fb429b2a3bc3d15e39eb" ns2:_="" ns3:_="">
    <xsd:import namespace="e8c3e202-9f93-4325-bb6d-25c44ffbbe5c"/>
    <xsd:import namespace="cc31e9f6-f128-4894-b2f9-7f82ccdbd699"/>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OCR"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c3e202-9f93-4325-bb6d-25c44ffbbe5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cc31e9f6-f128-4894-b2f9-7f82ccdbd69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TemplafySlideTemplateConfiguration><![CDATA[{"slideVersion":1,"isValidatorEnabled":false,"isLocked":false,"elementsMetadata":[],"slideId":"637842657269421775","enableDocumentContentUpdater":false,"version":"2.0"}]]></TemplafySlideTemplateConfiguration>
</file>

<file path=customXml/item8.xml><?xml version="1.0" encoding="utf-8"?>
<TemplafySlideTemplateConfiguration><![CDATA[{"slideVersion":1,"isValidatorEnabled":false,"isLocked":false,"elementsMetadata":[],"slideId":"637842657269631149","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9CAECFC7-C556-42C9-889E-6595E858F6FA}">
  <ds:schemaRefs/>
</ds:datastoreItem>
</file>

<file path=customXml/itemProps10.xml><?xml version="1.0" encoding="utf-8"?>
<ds:datastoreItem xmlns:ds="http://schemas.openxmlformats.org/officeDocument/2006/customXml" ds:itemID="{4ADE86D5-B708-42A7-AF37-CABB354205B7}">
  <ds:schemaRefs/>
</ds:datastoreItem>
</file>

<file path=customXml/itemProps11.xml><?xml version="1.0" encoding="utf-8"?>
<ds:datastoreItem xmlns:ds="http://schemas.openxmlformats.org/officeDocument/2006/customXml" ds:itemID="{0F32336D-9273-46D0-A62B-007C9F24FFE3}">
  <ds:schemaRefs/>
</ds:datastoreItem>
</file>

<file path=customXml/itemProps12.xml><?xml version="1.0" encoding="utf-8"?>
<ds:datastoreItem xmlns:ds="http://schemas.openxmlformats.org/officeDocument/2006/customXml" ds:itemID="{EF48E7A7-3733-48A0-9A6B-9ED8404D1FE0}">
  <ds:schemaRefs/>
</ds:datastoreItem>
</file>

<file path=customXml/itemProps13.xml><?xml version="1.0" encoding="utf-8"?>
<ds:datastoreItem xmlns:ds="http://schemas.openxmlformats.org/officeDocument/2006/customXml" ds:itemID="{95288B72-0DAA-40A8-9888-CDE9D7399EC1}">
  <ds:schemaRefs/>
</ds:datastoreItem>
</file>

<file path=customXml/itemProps14.xml><?xml version="1.0" encoding="utf-8"?>
<ds:datastoreItem xmlns:ds="http://schemas.openxmlformats.org/officeDocument/2006/customXml" ds:itemID="{20EDFF3D-9D3A-4CBF-9C74-39B581D1B832}">
  <ds:schemaRefs/>
</ds:datastoreItem>
</file>

<file path=customXml/itemProps15.xml><?xml version="1.0" encoding="utf-8"?>
<ds:datastoreItem xmlns:ds="http://schemas.openxmlformats.org/officeDocument/2006/customXml" ds:itemID="{0A903902-BBBF-485B-BB47-10C99066832A}">
  <ds:schemaRefs/>
</ds:datastoreItem>
</file>

<file path=customXml/itemProps16.xml><?xml version="1.0" encoding="utf-8"?>
<ds:datastoreItem xmlns:ds="http://schemas.openxmlformats.org/officeDocument/2006/customXml" ds:itemID="{D473C47B-5166-4DCA-9963-9B1C8CA33744}">
  <ds:schemaRefs>
    <ds:schemaRef ds:uri="http://schemas.microsoft.com/sharepoint/v3/contenttype/forms"/>
  </ds:schemaRefs>
</ds:datastoreItem>
</file>

<file path=customXml/itemProps17.xml><?xml version="1.0" encoding="utf-8"?>
<ds:datastoreItem xmlns:ds="http://schemas.openxmlformats.org/officeDocument/2006/customXml" ds:itemID="{4226B842-249B-4D5F-A5B2-0F96ED15DBE0}">
  <ds:schemaRefs/>
</ds:datastoreItem>
</file>

<file path=customXml/itemProps18.xml><?xml version="1.0" encoding="utf-8"?>
<ds:datastoreItem xmlns:ds="http://schemas.openxmlformats.org/officeDocument/2006/customXml" ds:itemID="{948D7C37-3DF5-4C8A-BD26-9C282B16DE87}">
  <ds:schemaRefs/>
</ds:datastoreItem>
</file>

<file path=customXml/itemProps19.xml><?xml version="1.0" encoding="utf-8"?>
<ds:datastoreItem xmlns:ds="http://schemas.openxmlformats.org/officeDocument/2006/customXml" ds:itemID="{10D4A57F-E823-4CA7-87ED-B176088FFCA6}">
  <ds:schemaRefs/>
</ds:datastoreItem>
</file>

<file path=customXml/itemProps2.xml><?xml version="1.0" encoding="utf-8"?>
<ds:datastoreItem xmlns:ds="http://schemas.openxmlformats.org/officeDocument/2006/customXml" ds:itemID="{0E58715D-ED24-48B6-9755-5159FAA732FF}">
  <ds:schemaRefs/>
</ds:datastoreItem>
</file>

<file path=customXml/itemProps20.xml><?xml version="1.0" encoding="utf-8"?>
<ds:datastoreItem xmlns:ds="http://schemas.openxmlformats.org/officeDocument/2006/customXml" ds:itemID="{B6C27030-D4C8-44B0-8FC5-0A31C55F6CD1}">
  <ds:schemaRefs/>
</ds:datastoreItem>
</file>

<file path=customXml/itemProps21.xml><?xml version="1.0" encoding="utf-8"?>
<ds:datastoreItem xmlns:ds="http://schemas.openxmlformats.org/officeDocument/2006/customXml" ds:itemID="{FE3335FC-62A4-4734-B538-9350875C6BAE}">
  <ds:schemaRefs/>
</ds:datastoreItem>
</file>

<file path=customXml/itemProps22.xml><?xml version="1.0" encoding="utf-8"?>
<ds:datastoreItem xmlns:ds="http://schemas.openxmlformats.org/officeDocument/2006/customXml" ds:itemID="{7B1FB140-CA8C-4088-BAFA-BA986DF0C810}">
  <ds:schemaRefs/>
</ds:datastoreItem>
</file>

<file path=customXml/itemProps3.xml><?xml version="1.0" encoding="utf-8"?>
<ds:datastoreItem xmlns:ds="http://schemas.openxmlformats.org/officeDocument/2006/customXml" ds:itemID="{7915E8DC-7A4F-4C76-829D-FFBBB9D61D0C}">
  <ds:schemaRefs/>
</ds:datastoreItem>
</file>

<file path=customXml/itemProps4.xml><?xml version="1.0" encoding="utf-8"?>
<ds:datastoreItem xmlns:ds="http://schemas.openxmlformats.org/officeDocument/2006/customXml" ds:itemID="{E0636201-EB49-4EBE-9509-DB89FCD2026E}">
  <ds:schemaRefs/>
</ds:datastoreItem>
</file>

<file path=customXml/itemProps5.xml><?xml version="1.0" encoding="utf-8"?>
<ds:datastoreItem xmlns:ds="http://schemas.openxmlformats.org/officeDocument/2006/customXml" ds:itemID="{593530FD-AE87-4D06-9BD3-0DCE58A09C72}">
  <ds:schemaRefs/>
</ds:datastoreItem>
</file>

<file path=customXml/itemProps6.xml><?xml version="1.0" encoding="utf-8"?>
<ds:datastoreItem xmlns:ds="http://schemas.openxmlformats.org/officeDocument/2006/customXml" ds:itemID="{482425A9-1B68-4E1C-95A2-8467CC7AF3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c3e202-9f93-4325-bb6d-25c44ffbbe5c"/>
    <ds:schemaRef ds:uri="cc31e9f6-f128-4894-b2f9-7f82ccdbd6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xml><?xml version="1.0" encoding="utf-8"?>
<ds:datastoreItem xmlns:ds="http://schemas.openxmlformats.org/officeDocument/2006/customXml" ds:itemID="{8763F789-E86F-4159-9548-C076FDEA8102}">
  <ds:schemaRefs/>
</ds:datastoreItem>
</file>

<file path=customXml/itemProps8.xml><?xml version="1.0" encoding="utf-8"?>
<ds:datastoreItem xmlns:ds="http://schemas.openxmlformats.org/officeDocument/2006/customXml" ds:itemID="{02C7FDEB-41CA-4392-92D4-A2EEF51F5D1E}">
  <ds:schemaRefs/>
</ds:datastoreItem>
</file>

<file path=customXml/itemProps9.xml><?xml version="1.0" encoding="utf-8"?>
<ds:datastoreItem xmlns:ds="http://schemas.openxmlformats.org/officeDocument/2006/customXml" ds:itemID="{6AB32657-9B27-4C1A-B668-A1B7D4383DFD}">
  <ds:schemaRefs/>
</ds:datastoreItem>
</file>

<file path=docProps/app.xml><?xml version="1.0" encoding="utf-8"?>
<Properties xmlns="http://schemas.openxmlformats.org/officeDocument/2006/extended-properties" xmlns:vt="http://schemas.openxmlformats.org/officeDocument/2006/docPropsVTypes">
  <Template/>
  <TotalTime>9287</TotalTime>
  <Words>1417</Words>
  <Application>Microsoft Office PowerPoint</Application>
  <PresentationFormat>Widescreen</PresentationFormat>
  <Paragraphs>100</Paragraphs>
  <Slides>17</Slides>
  <Notes>1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Open Sans</vt:lpstr>
      <vt:lpstr>Open Sans Light</vt:lpstr>
      <vt:lpstr>Verdana</vt:lpstr>
      <vt:lpstr>Wingdings 2</vt:lpstr>
      <vt:lpstr>DD 2021 Theme Colors KN</vt:lpstr>
      <vt:lpstr>think-cell Slide</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The Requirements</vt:lpstr>
      <vt:lpstr>Architecture Overview</vt:lpstr>
      <vt:lpstr>PowerPoint Presentation</vt:lpstr>
      <vt:lpstr>Back-End Architecture</vt:lpstr>
      <vt:lpstr>PowerPoint Presentation</vt:lpstr>
      <vt:lpstr>Front-End – Administrator flow</vt:lpstr>
      <vt:lpstr>Front-End – End User View</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Zammit Cutajar, Simon</dc:creator>
  <cp:keywords/>
  <dc:description/>
  <cp:lastModifiedBy>Daniel Naguib, Michael</cp:lastModifiedBy>
  <cp:revision>108</cp:revision>
  <dcterms:created xsi:type="dcterms:W3CDTF">2022-04-13T10:34:13Z</dcterms:created>
  <dcterms:modified xsi:type="dcterms:W3CDTF">2022-04-21T11:01:0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C3DAF799467542A46724AAE9F289A1</vt:lpwstr>
  </property>
  <property fmtid="{D5CDD505-2E9C-101B-9397-08002B2CF9AE}" pid="3" name="MSIP_Label_ea60d57e-af5b-4752-ac57-3e4f28ca11dc_SiteId">
    <vt:lpwstr>36da45f1-dd2c-4d1f-af13-5abe46b99921</vt:lpwstr>
  </property>
  <property fmtid="{D5CDD505-2E9C-101B-9397-08002B2CF9AE}" pid="4" name="MSIP_Label_ea60d57e-af5b-4752-ac57-3e4f28ca11dc_Method">
    <vt:lpwstr>Standard</vt:lpwstr>
  </property>
  <property fmtid="{D5CDD505-2E9C-101B-9397-08002B2CF9AE}" pid="5" name="MSIP_Label_ea60d57e-af5b-4752-ac57-3e4f28ca11dc_Enabled">
    <vt:lpwstr>true</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etDate">
    <vt:lpwstr>2021-03-16T23:04:15Z</vt:lpwstr>
  </property>
  <property fmtid="{D5CDD505-2E9C-101B-9397-08002B2CF9AE}" pid="8" name="MSIP_Label_ea60d57e-af5b-4752-ac57-3e4f28ca11dc_ContentBits">
    <vt:lpwstr>0</vt:lpwstr>
  </property>
  <property fmtid="{D5CDD505-2E9C-101B-9397-08002B2CF9AE}" pid="9" name="MSIP_Label_ea60d57e-af5b-4752-ac57-3e4f28ca11dc_ActionId">
    <vt:lpwstr>eefdd777-cb2e-454d-837b-4120f4a007d7</vt:lpwstr>
  </property>
  <property fmtid="{D5CDD505-2E9C-101B-9397-08002B2CF9AE}" pid="10" name="_dlc_DocIdItemGuid">
    <vt:lpwstr>2a7bac95-ea09-470d-b5b3-1364dfed5774</vt:lpwstr>
  </property>
  <property fmtid="{D5CDD505-2E9C-101B-9397-08002B2CF9AE}" pid="11" name="TemplafyTimeStamp">
    <vt:lpwstr>2022-03-30T19:35:27</vt:lpwstr>
  </property>
  <property fmtid="{D5CDD505-2E9C-101B-9397-08002B2CF9AE}" pid="12" name="TemplafyTenantId">
    <vt:lpwstr>deloittecm</vt:lpwstr>
  </property>
  <property fmtid="{D5CDD505-2E9C-101B-9397-08002B2CF9AE}" pid="13" name="TemplafyTemplateId">
    <vt:lpwstr>637786438274694968</vt:lpwstr>
  </property>
  <property fmtid="{D5CDD505-2E9C-101B-9397-08002B2CF9AE}" pid="14" name="TemplafyUserProfileId">
    <vt:lpwstr>637836176717461796</vt:lpwstr>
  </property>
  <property fmtid="{D5CDD505-2E9C-101B-9397-08002B2CF9AE}" pid="15" name="TemplafyFromBlank">
    <vt:bool>false</vt:bool>
  </property>
</Properties>
</file>